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18"/>
  </p:notesMasterIdLst>
  <p:sldIdLst>
    <p:sldId id="307" r:id="rId3"/>
    <p:sldId id="396" r:id="rId4"/>
    <p:sldId id="405" r:id="rId5"/>
    <p:sldId id="400" r:id="rId6"/>
    <p:sldId id="402" r:id="rId7"/>
    <p:sldId id="408" r:id="rId8"/>
    <p:sldId id="423" r:id="rId9"/>
    <p:sldId id="424" r:id="rId10"/>
    <p:sldId id="421" r:id="rId11"/>
    <p:sldId id="420" r:id="rId12"/>
    <p:sldId id="419" r:id="rId13"/>
    <p:sldId id="418" r:id="rId14"/>
    <p:sldId id="413" r:id="rId15"/>
    <p:sldId id="425" r:id="rId16"/>
    <p:sldId id="318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F9966"/>
    <a:srgbClr val="FFCC00"/>
    <a:srgbClr val="FF9900"/>
    <a:srgbClr val="99CCFF"/>
    <a:srgbClr val="70BDFC"/>
    <a:srgbClr val="9961E3"/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24359" autoAdjust="0"/>
    <p:restoredTop sz="94660"/>
  </p:normalViewPr>
  <p:slideViewPr>
    <p:cSldViewPr>
      <p:cViewPr varScale="1">
        <p:scale>
          <a:sx n="74" d="100"/>
          <a:sy n="74" d="100"/>
        </p:scale>
        <p:origin x="-726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88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slide" Target="../slides/slide4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9.xml"/><Relationship Id="rId2" Type="http://schemas.openxmlformats.org/officeDocument/2006/relationships/slide" Target="../slides/slide7.xml"/><Relationship Id="rId1" Type="http://schemas.openxmlformats.org/officeDocument/2006/relationships/slide" Target="../slides/slide6.xml"/><Relationship Id="rId5" Type="http://schemas.openxmlformats.org/officeDocument/2006/relationships/slide" Target="../slides/slide11.xml"/><Relationship Id="rId4" Type="http://schemas.openxmlformats.org/officeDocument/2006/relationships/slide" Target="../slides/slide10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24E6FF1-E171-495C-91D7-BC2CD3B19EE2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A229C39-FA88-414A-96A0-881D4CB46187}">
      <dgm:prSet phldrT="[Text]" custT="1"/>
      <dgm:spPr>
        <a:solidFill>
          <a:schemeClr val="accent3">
            <a:lumMod val="60000"/>
            <a:lumOff val="40000"/>
          </a:schemeClr>
        </a:solidFill>
        <a:ln>
          <a:noFill/>
        </a:ln>
        <a:effectLst>
          <a:glow rad="63500">
            <a:schemeClr val="accent3">
              <a:satMod val="175000"/>
              <a:alpha val="40000"/>
            </a:schemeClr>
          </a:glow>
          <a:outerShdw blurRad="44450" dist="27940" dir="5400000" algn="ctr">
            <a:srgbClr val="000000">
              <a:alpha val="32000"/>
            </a:srgbClr>
          </a:outerShdw>
        </a:effectLst>
        <a:scene3d>
          <a:camera prst="perspectiveBelow"/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sz="1800" dirty="0" smtClean="0">
              <a:solidFill>
                <a:schemeClr val="tx1"/>
              </a:solidFill>
            </a:rPr>
            <a:t>INTRODUCTION</a:t>
          </a:r>
          <a:endParaRPr lang="en-US" sz="1800" dirty="0">
            <a:solidFill>
              <a:schemeClr val="tx1"/>
            </a:solidFill>
          </a:endParaRPr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1" action="ppaction://hlinksldjump"/>
          </dgm14:cNvPr>
        </a:ext>
      </dgm:extLst>
    </dgm:pt>
    <dgm:pt modelId="{F5F76FA7-E360-448B-9B85-E90EE858AECD}" type="parTrans" cxnId="{BED20828-B97A-48D3-986C-C1E6C31374E3}">
      <dgm:prSet/>
      <dgm:spPr/>
      <dgm:t>
        <a:bodyPr/>
        <a:lstStyle/>
        <a:p>
          <a:endParaRPr lang="en-US"/>
        </a:p>
      </dgm:t>
    </dgm:pt>
    <dgm:pt modelId="{3AB1FD25-C189-4296-9A91-C785B474E69F}" type="sibTrans" cxnId="{BED20828-B97A-48D3-986C-C1E6C31374E3}">
      <dgm:prSet/>
      <dgm:spPr/>
      <dgm:t>
        <a:bodyPr/>
        <a:lstStyle/>
        <a:p>
          <a:endParaRPr lang="en-US"/>
        </a:p>
      </dgm:t>
    </dgm:pt>
    <dgm:pt modelId="{26B0DE5F-EEC2-487E-8C22-475AE54B0F05}">
      <dgm:prSet phldrT="[Text]" custT="1"/>
      <dgm:spPr>
        <a:solidFill>
          <a:schemeClr val="accent3">
            <a:lumMod val="60000"/>
            <a:lumOff val="40000"/>
          </a:schemeClr>
        </a:solidFill>
        <a:ln>
          <a:noFill/>
        </a:ln>
        <a:effectLst>
          <a:glow rad="63500">
            <a:schemeClr val="accent3">
              <a:satMod val="175000"/>
              <a:alpha val="40000"/>
            </a:schemeClr>
          </a:glow>
          <a:outerShdw blurRad="44450" dist="27940" dir="5400000" algn="ctr">
            <a:srgbClr val="000000">
              <a:alpha val="32000"/>
            </a:srgbClr>
          </a:outerShdw>
        </a:effectLst>
        <a:scene3d>
          <a:camera prst="perspectiveBelow"/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sz="1800" dirty="0" smtClean="0">
              <a:solidFill>
                <a:schemeClr val="tx1"/>
              </a:solidFill>
            </a:rPr>
            <a:t>WORK FLOW</a:t>
          </a:r>
          <a:endParaRPr lang="en-US" sz="1800" dirty="0">
            <a:solidFill>
              <a:schemeClr val="tx1"/>
            </a:solidFill>
          </a:endParaRPr>
        </a:p>
      </dgm:t>
    </dgm:pt>
    <dgm:pt modelId="{A84FB76D-AF60-41B4-8700-D2C512544622}" type="parTrans" cxnId="{A751A783-DA74-4D41-AC3A-D6019F54B5BC}">
      <dgm:prSet/>
      <dgm:spPr/>
      <dgm:t>
        <a:bodyPr/>
        <a:lstStyle/>
        <a:p>
          <a:endParaRPr lang="en-US"/>
        </a:p>
      </dgm:t>
    </dgm:pt>
    <dgm:pt modelId="{CC9527D3-59B4-4E46-8085-F5DCF5B3B1C4}" type="sibTrans" cxnId="{A751A783-DA74-4D41-AC3A-D6019F54B5BC}">
      <dgm:prSet/>
      <dgm:spPr/>
      <dgm:t>
        <a:bodyPr/>
        <a:lstStyle/>
        <a:p>
          <a:endParaRPr lang="en-US"/>
        </a:p>
      </dgm:t>
    </dgm:pt>
    <dgm:pt modelId="{B0EC43C0-728D-4947-B42E-F6C24D4539E0}">
      <dgm:prSet phldrT="[Text]" custT="1"/>
      <dgm:spPr>
        <a:solidFill>
          <a:schemeClr val="accent3">
            <a:lumMod val="60000"/>
            <a:lumOff val="40000"/>
          </a:schemeClr>
        </a:solidFill>
        <a:ln>
          <a:noFill/>
        </a:ln>
        <a:effectLst>
          <a:glow rad="63500">
            <a:schemeClr val="accent3">
              <a:satMod val="175000"/>
              <a:alpha val="40000"/>
            </a:schemeClr>
          </a:glow>
          <a:outerShdw blurRad="44450" dist="27940" dir="5400000" algn="ctr">
            <a:srgbClr val="000000">
              <a:alpha val="32000"/>
            </a:srgbClr>
          </a:outerShdw>
        </a:effectLst>
        <a:scene3d>
          <a:camera prst="perspectiveBelow"/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sz="1800" dirty="0" smtClean="0">
              <a:solidFill>
                <a:schemeClr val="tx1"/>
              </a:solidFill>
            </a:rPr>
            <a:t>REQUIREMENT ANALYSIS</a:t>
          </a:r>
          <a:endParaRPr lang="en-US" sz="1800" dirty="0">
            <a:solidFill>
              <a:schemeClr val="tx1"/>
            </a:solidFill>
          </a:endParaRPr>
        </a:p>
      </dgm:t>
    </dgm:pt>
    <dgm:pt modelId="{C717097E-4900-4ADA-8859-4A00DD331760}" type="parTrans" cxnId="{BE6FD984-96C9-4099-AD2D-98E617498989}">
      <dgm:prSet/>
      <dgm:spPr/>
      <dgm:t>
        <a:bodyPr/>
        <a:lstStyle/>
        <a:p>
          <a:endParaRPr lang="en-US"/>
        </a:p>
      </dgm:t>
    </dgm:pt>
    <dgm:pt modelId="{2DCC2554-524A-42AA-BF5D-5806C46CDE96}" type="sibTrans" cxnId="{BE6FD984-96C9-4099-AD2D-98E617498989}">
      <dgm:prSet/>
      <dgm:spPr/>
      <dgm:t>
        <a:bodyPr/>
        <a:lstStyle/>
        <a:p>
          <a:endParaRPr lang="en-US"/>
        </a:p>
      </dgm:t>
    </dgm:pt>
    <dgm:pt modelId="{50BF1B1C-83FF-4090-9DB2-D8E89C449177}">
      <dgm:prSet phldrT="[Text]" custT="1"/>
      <dgm:spPr>
        <a:solidFill>
          <a:schemeClr val="accent3">
            <a:lumMod val="60000"/>
            <a:lumOff val="40000"/>
          </a:schemeClr>
        </a:solidFill>
        <a:ln>
          <a:noFill/>
        </a:ln>
        <a:effectLst>
          <a:glow rad="63500">
            <a:schemeClr val="accent3">
              <a:satMod val="175000"/>
              <a:alpha val="40000"/>
            </a:schemeClr>
          </a:glow>
          <a:outerShdw blurRad="44450" dist="27940" dir="5400000" algn="ctr">
            <a:srgbClr val="000000">
              <a:alpha val="32000"/>
            </a:srgbClr>
          </a:outerShdw>
        </a:effectLst>
        <a:scene3d>
          <a:camera prst="perspectiveBelow"/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sz="1800" dirty="0" smtClean="0">
              <a:solidFill>
                <a:schemeClr val="tx1"/>
              </a:solidFill>
            </a:rPr>
            <a:t>REPORTS</a:t>
          </a:r>
          <a:endParaRPr lang="en-US" sz="1800" dirty="0">
            <a:solidFill>
              <a:schemeClr val="tx1"/>
            </a:solidFill>
          </a:endParaRPr>
        </a:p>
      </dgm:t>
    </dgm:pt>
    <dgm:pt modelId="{52FB58D0-E269-45E4-ADB2-734EC3540152}" type="parTrans" cxnId="{E7604831-C653-4D5A-8401-5FB04BE68A79}">
      <dgm:prSet/>
      <dgm:spPr/>
      <dgm:t>
        <a:bodyPr/>
        <a:lstStyle/>
        <a:p>
          <a:endParaRPr lang="en-US"/>
        </a:p>
      </dgm:t>
    </dgm:pt>
    <dgm:pt modelId="{F415B774-80EB-42AF-B3C2-B6C6BE067C5F}" type="sibTrans" cxnId="{E7604831-C653-4D5A-8401-5FB04BE68A79}">
      <dgm:prSet/>
      <dgm:spPr/>
      <dgm:t>
        <a:bodyPr/>
        <a:lstStyle/>
        <a:p>
          <a:endParaRPr lang="en-US"/>
        </a:p>
      </dgm:t>
    </dgm:pt>
    <dgm:pt modelId="{A91B6068-2B5A-4C38-B297-C2C5F13C94AC}">
      <dgm:prSet phldrT="[Text]" custT="1"/>
      <dgm:spPr>
        <a:solidFill>
          <a:schemeClr val="accent3">
            <a:lumMod val="60000"/>
            <a:lumOff val="40000"/>
          </a:schemeClr>
        </a:solidFill>
        <a:ln>
          <a:noFill/>
        </a:ln>
        <a:effectLst>
          <a:glow rad="63500">
            <a:schemeClr val="accent3">
              <a:satMod val="175000"/>
              <a:alpha val="40000"/>
            </a:schemeClr>
          </a:glow>
          <a:outerShdw blurRad="44450" dist="27940" dir="5400000" algn="ctr">
            <a:srgbClr val="000000">
              <a:alpha val="32000"/>
            </a:srgbClr>
          </a:outerShdw>
        </a:effectLst>
        <a:scene3d>
          <a:camera prst="perspectiveBelow"/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sz="1800" dirty="0" smtClean="0">
              <a:solidFill>
                <a:schemeClr val="tx1"/>
              </a:solidFill>
            </a:rPr>
            <a:t>CONCLUSION</a:t>
          </a:r>
          <a:endParaRPr lang="en-US" sz="1800" dirty="0">
            <a:solidFill>
              <a:schemeClr val="tx1"/>
            </a:solidFill>
          </a:endParaRPr>
        </a:p>
      </dgm:t>
    </dgm:pt>
    <dgm:pt modelId="{D93613E6-D9A1-4260-8A92-ECDF63B76075}" type="parTrans" cxnId="{019C2979-6D99-4A42-99A0-82D5B3FC8C82}">
      <dgm:prSet/>
      <dgm:spPr/>
      <dgm:t>
        <a:bodyPr/>
        <a:lstStyle/>
        <a:p>
          <a:endParaRPr lang="en-US"/>
        </a:p>
      </dgm:t>
    </dgm:pt>
    <dgm:pt modelId="{A336F02C-9A55-4639-B506-708318F4033C}" type="sibTrans" cxnId="{019C2979-6D99-4A42-99A0-82D5B3FC8C82}">
      <dgm:prSet/>
      <dgm:spPr/>
      <dgm:t>
        <a:bodyPr/>
        <a:lstStyle/>
        <a:p>
          <a:endParaRPr lang="en-US"/>
        </a:p>
      </dgm:t>
    </dgm:pt>
    <dgm:pt modelId="{26814513-9910-4B8B-9638-B291B1DA0EE6}">
      <dgm:prSet phldrT="[Text]" custT="1"/>
      <dgm:spPr>
        <a:solidFill>
          <a:schemeClr val="accent3">
            <a:lumMod val="60000"/>
            <a:lumOff val="40000"/>
          </a:schemeClr>
        </a:solidFill>
        <a:ln>
          <a:noFill/>
        </a:ln>
        <a:effectLst>
          <a:glow rad="63500">
            <a:schemeClr val="accent3">
              <a:satMod val="175000"/>
              <a:alpha val="40000"/>
            </a:schemeClr>
          </a:glow>
          <a:outerShdw blurRad="44450" dist="27940" dir="5400000" algn="ctr">
            <a:srgbClr val="000000">
              <a:alpha val="32000"/>
            </a:srgbClr>
          </a:outerShdw>
        </a:effectLst>
        <a:scene3d>
          <a:camera prst="perspectiveBelow"/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sz="1800" dirty="0" smtClean="0">
              <a:solidFill>
                <a:schemeClr val="tx1"/>
              </a:solidFill>
            </a:rPr>
            <a:t>FORMS</a:t>
          </a:r>
          <a:endParaRPr lang="en-US" sz="1800" dirty="0">
            <a:solidFill>
              <a:schemeClr val="tx1"/>
            </a:solidFill>
          </a:endParaRPr>
        </a:p>
      </dgm:t>
    </dgm:pt>
    <dgm:pt modelId="{1F7A8124-836F-4CF7-9EB0-4D07280EA821}" type="sibTrans" cxnId="{0D8AA7FF-15AC-4663-A313-612327736A32}">
      <dgm:prSet/>
      <dgm:spPr/>
      <dgm:t>
        <a:bodyPr/>
        <a:lstStyle/>
        <a:p>
          <a:endParaRPr lang="en-US"/>
        </a:p>
      </dgm:t>
    </dgm:pt>
    <dgm:pt modelId="{070EA9F6-3439-43C1-B3D1-E6307AD9ED4B}" type="parTrans" cxnId="{0D8AA7FF-15AC-4663-A313-612327736A32}">
      <dgm:prSet/>
      <dgm:spPr/>
      <dgm:t>
        <a:bodyPr/>
        <a:lstStyle/>
        <a:p>
          <a:endParaRPr lang="en-US"/>
        </a:p>
      </dgm:t>
    </dgm:pt>
    <dgm:pt modelId="{7AA11C13-FC54-4334-BEDD-33F6B124C5F2}" type="pres">
      <dgm:prSet presAssocID="{624E6FF1-E171-495C-91D7-BC2CD3B19EE2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CBCD03DC-953E-4FE1-B1E3-15B898BE7DC1}" type="pres">
      <dgm:prSet presAssocID="{AA229C39-FA88-414A-96A0-881D4CB46187}" presName="composite" presStyleCnt="0"/>
      <dgm:spPr/>
    </dgm:pt>
    <dgm:pt modelId="{D38E8731-1C8D-4997-9949-1880E38E63A0}" type="pres">
      <dgm:prSet presAssocID="{AA229C39-FA88-414A-96A0-881D4CB46187}" presName="bentUpArrow1" presStyleLbl="alignImgPlace1" presStyleIdx="0" presStyleCnt="5" custScaleY="96061" custLinFactNeighborX="-11397" custLinFactNeighborY="-18957"/>
      <dgm:spPr>
        <a:solidFill>
          <a:schemeClr val="accent4">
            <a:lumMod val="60000"/>
            <a:lumOff val="40000"/>
          </a:scheme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endParaRPr lang="en-US"/>
        </a:p>
      </dgm:t>
    </dgm:pt>
    <dgm:pt modelId="{904A735A-1C07-4345-BE3A-7C6DD38B51B8}" type="pres">
      <dgm:prSet presAssocID="{AA229C39-FA88-414A-96A0-881D4CB46187}" presName="ParentText" presStyleLbl="node1" presStyleIdx="0" presStyleCnt="6" custScaleX="191211" custLinFactNeighborX="633" custLinFactNeighborY="-4269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BB84E2F-9129-4B55-9E76-BA229075F43A}" type="pres">
      <dgm:prSet presAssocID="{AA229C39-FA88-414A-96A0-881D4CB46187}" presName="ChildText" presStyleLbl="revTx" presStyleIdx="0" presStyleCnt="5" custLinFactNeighborX="-4588" custLinFactNeighborY="-139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E1ECCA0-0595-442B-8B41-945A820848D8}" type="pres">
      <dgm:prSet presAssocID="{3AB1FD25-C189-4296-9A91-C785B474E69F}" presName="sibTrans" presStyleCnt="0"/>
      <dgm:spPr/>
    </dgm:pt>
    <dgm:pt modelId="{92ED3E57-0FD2-4288-8B87-85819F747E71}" type="pres">
      <dgm:prSet presAssocID="{26B0DE5F-EEC2-487E-8C22-475AE54B0F05}" presName="composite" presStyleCnt="0"/>
      <dgm:spPr/>
    </dgm:pt>
    <dgm:pt modelId="{AC629B5E-E78A-4DEC-A2EB-27A9FF83E531}" type="pres">
      <dgm:prSet presAssocID="{26B0DE5F-EEC2-487E-8C22-475AE54B0F05}" presName="bentUpArrow1" presStyleLbl="alignImgPlace1" presStyleIdx="1" presStyleCnt="5" custLinFactNeighborY="-18052"/>
      <dgm:spPr>
        <a:solidFill>
          <a:schemeClr val="accent4">
            <a:lumMod val="60000"/>
            <a:lumOff val="40000"/>
          </a:scheme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56A62319-D22D-459A-8622-79140E2F0990}" type="pres">
      <dgm:prSet presAssocID="{26B0DE5F-EEC2-487E-8C22-475AE54B0F05}" presName="ParentText" presStyleLbl="node1" presStyleIdx="1" presStyleCnt="6" custScaleX="155063" custLinFactNeighborX="10959" custLinFactNeighborY="-673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206BCE7-2589-48FE-B023-8018DAE0CB75}" type="pres">
      <dgm:prSet presAssocID="{26B0DE5F-EEC2-487E-8C22-475AE54B0F05}" presName="ChildText" presStyleLbl="revTx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109C0B0-5128-4F74-990A-45BEC967DD8B}" type="pres">
      <dgm:prSet presAssocID="{CC9527D3-59B4-4E46-8085-F5DCF5B3B1C4}" presName="sibTrans" presStyleCnt="0"/>
      <dgm:spPr/>
    </dgm:pt>
    <dgm:pt modelId="{B6D6BDE5-EF94-4ECB-A660-E5DFB03D4588}" type="pres">
      <dgm:prSet presAssocID="{B0EC43C0-728D-4947-B42E-F6C24D4539E0}" presName="composite" presStyleCnt="0"/>
      <dgm:spPr/>
    </dgm:pt>
    <dgm:pt modelId="{BD85D67A-A9A4-4B7E-864D-D1C91F3B459C}" type="pres">
      <dgm:prSet presAssocID="{B0EC43C0-728D-4947-B42E-F6C24D4539E0}" presName="bentUpArrow1" presStyleLbl="alignImgPlace1" presStyleIdx="2" presStyleCnt="5" custLinFactNeighborX="-21347" custLinFactNeighborY="-9327"/>
      <dgm:spPr>
        <a:solidFill>
          <a:schemeClr val="accent4">
            <a:lumMod val="60000"/>
            <a:lumOff val="40000"/>
          </a:scheme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EC46135E-9306-4284-A1EB-45CE1DD04FF6}" type="pres">
      <dgm:prSet presAssocID="{B0EC43C0-728D-4947-B42E-F6C24D4539E0}" presName="ParentText" presStyleLbl="node1" presStyleIdx="2" presStyleCnt="6" custScaleX="182937" custLinFactNeighborX="63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59377E2-E1CF-49A4-BC21-C70E3E435F90}" type="pres">
      <dgm:prSet presAssocID="{B0EC43C0-728D-4947-B42E-F6C24D4539E0}" presName="ChildText" presStyleLbl="revTx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2C8D1C5-FDCD-453A-BB7F-354E488FDBB2}" type="pres">
      <dgm:prSet presAssocID="{2DCC2554-524A-42AA-BF5D-5806C46CDE96}" presName="sibTrans" presStyleCnt="0"/>
      <dgm:spPr/>
    </dgm:pt>
    <dgm:pt modelId="{C492DA02-AA4F-4FF1-BF98-EAAF0B6EC1CA}" type="pres">
      <dgm:prSet presAssocID="{26814513-9910-4B8B-9638-B291B1DA0EE6}" presName="composite" presStyleCnt="0"/>
      <dgm:spPr/>
    </dgm:pt>
    <dgm:pt modelId="{0C5F0164-AEAA-4826-8354-AC6F1D291344}" type="pres">
      <dgm:prSet presAssocID="{26814513-9910-4B8B-9638-B291B1DA0EE6}" presName="bentUpArrow1" presStyleLbl="alignImgPlace1" presStyleIdx="3" presStyleCnt="5" custLinFactNeighborX="489" custLinFactNeighborY="-12360"/>
      <dgm:spPr>
        <a:solidFill>
          <a:schemeClr val="accent4">
            <a:lumMod val="60000"/>
            <a:lumOff val="40000"/>
          </a:scheme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81E778DF-CA4A-4B6E-8CD9-7428DBF4C765}" type="pres">
      <dgm:prSet presAssocID="{26814513-9910-4B8B-9638-B291B1DA0EE6}" presName="ParentText" presStyleLbl="node1" presStyleIdx="3" presStyleCnt="6" custScaleX="165378" custLinFactNeighborX="63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A14843C-6F1C-4DAB-8769-AC50FDABBB7B}" type="pres">
      <dgm:prSet presAssocID="{26814513-9910-4B8B-9638-B291B1DA0EE6}" presName="ChildText" presStyleLbl="revTx" presStyleIdx="3" presStyleCnt="5">
        <dgm:presLayoutVars>
          <dgm:chMax val="0"/>
          <dgm:chPref val="0"/>
          <dgm:bulletEnabled val="1"/>
        </dgm:presLayoutVars>
      </dgm:prSet>
      <dgm:spPr/>
    </dgm:pt>
    <dgm:pt modelId="{41A72EFA-D068-4F9A-9E0E-C02546CFC6B7}" type="pres">
      <dgm:prSet presAssocID="{1F7A8124-836F-4CF7-9EB0-4D07280EA821}" presName="sibTrans" presStyleCnt="0"/>
      <dgm:spPr/>
    </dgm:pt>
    <dgm:pt modelId="{ADC00C61-24AA-4FCD-8685-060DB17F21CA}" type="pres">
      <dgm:prSet presAssocID="{50BF1B1C-83FF-4090-9DB2-D8E89C449177}" presName="composite" presStyleCnt="0"/>
      <dgm:spPr/>
    </dgm:pt>
    <dgm:pt modelId="{863E5CAE-BC42-4299-B462-31B49D4AAFBB}" type="pres">
      <dgm:prSet presAssocID="{50BF1B1C-83FF-4090-9DB2-D8E89C449177}" presName="bentUpArrow1" presStyleLbl="alignImgPlace1" presStyleIdx="4" presStyleCnt="5" custLinFactNeighborX="-32906" custLinFactNeighborY="-3636"/>
      <dgm:spPr>
        <a:solidFill>
          <a:schemeClr val="accent4">
            <a:lumMod val="60000"/>
            <a:lumOff val="40000"/>
          </a:scheme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EC39CA2C-62ED-4B45-A534-AACFD53AB711}" type="pres">
      <dgm:prSet presAssocID="{50BF1B1C-83FF-4090-9DB2-D8E89C449177}" presName="ParentText" presStyleLbl="node1" presStyleIdx="4" presStyleCnt="6" custScaleX="178107" custLinFactNeighborX="63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869902F-6F03-42EA-A7B4-6AE4CF97CFCE}" type="pres">
      <dgm:prSet presAssocID="{50BF1B1C-83FF-4090-9DB2-D8E89C449177}" presName="ChildText" presStyleLbl="revTx" presStyleIdx="4" presStyleCnt="5">
        <dgm:presLayoutVars>
          <dgm:chMax val="0"/>
          <dgm:chPref val="0"/>
          <dgm:bulletEnabled val="1"/>
        </dgm:presLayoutVars>
      </dgm:prSet>
      <dgm:spPr/>
    </dgm:pt>
    <dgm:pt modelId="{C9DEF526-05BE-40C3-8EA6-22FE45C5ADD0}" type="pres">
      <dgm:prSet presAssocID="{F415B774-80EB-42AF-B3C2-B6C6BE067C5F}" presName="sibTrans" presStyleCnt="0"/>
      <dgm:spPr/>
    </dgm:pt>
    <dgm:pt modelId="{1AB8D4D6-3292-4C24-9949-815412CD2EB1}" type="pres">
      <dgm:prSet presAssocID="{A91B6068-2B5A-4C38-B297-C2C5F13C94AC}" presName="composite" presStyleCnt="0"/>
      <dgm:spPr/>
    </dgm:pt>
    <dgm:pt modelId="{057A2FF9-572B-42A0-A09E-981D068FEB4C}" type="pres">
      <dgm:prSet presAssocID="{A91B6068-2B5A-4C38-B297-C2C5F13C94AC}" presName="ParentText" presStyleLbl="node1" presStyleIdx="5" presStyleCnt="6" custScaleX="168709" custLinFactNeighborX="-684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7DE0218-A5B2-43F3-8C4C-ACFE15DBB064}" type="presOf" srcId="{624E6FF1-E171-495C-91D7-BC2CD3B19EE2}" destId="{7AA11C13-FC54-4334-BEDD-33F6B124C5F2}" srcOrd="0" destOrd="0" presId="urn:microsoft.com/office/officeart/2005/8/layout/StepDownProcess"/>
    <dgm:cxn modelId="{019C2979-6D99-4A42-99A0-82D5B3FC8C82}" srcId="{624E6FF1-E171-495C-91D7-BC2CD3B19EE2}" destId="{A91B6068-2B5A-4C38-B297-C2C5F13C94AC}" srcOrd="5" destOrd="0" parTransId="{D93613E6-D9A1-4260-8A92-ECDF63B76075}" sibTransId="{A336F02C-9A55-4639-B506-708318F4033C}"/>
    <dgm:cxn modelId="{65425C37-F2E9-4217-AAC5-4791495550F2}" type="presOf" srcId="{AA229C39-FA88-414A-96A0-881D4CB46187}" destId="{904A735A-1C07-4345-BE3A-7C6DD38B51B8}" srcOrd="0" destOrd="0" presId="urn:microsoft.com/office/officeart/2005/8/layout/StepDownProcess"/>
    <dgm:cxn modelId="{D6E5BAC7-CF0C-4BF9-A7CB-D87E27B22D3A}" type="presOf" srcId="{B0EC43C0-728D-4947-B42E-F6C24D4539E0}" destId="{EC46135E-9306-4284-A1EB-45CE1DD04FF6}" srcOrd="0" destOrd="0" presId="urn:microsoft.com/office/officeart/2005/8/layout/StepDownProcess"/>
    <dgm:cxn modelId="{BC66E1BF-10B3-4E79-952B-AB885B8C0DAF}" type="presOf" srcId="{26814513-9910-4B8B-9638-B291B1DA0EE6}" destId="{81E778DF-CA4A-4B6E-8CD9-7428DBF4C765}" srcOrd="0" destOrd="0" presId="urn:microsoft.com/office/officeart/2005/8/layout/StepDownProcess"/>
    <dgm:cxn modelId="{9FC20AF0-4638-4C97-8A7B-351141F84A66}" type="presOf" srcId="{A91B6068-2B5A-4C38-B297-C2C5F13C94AC}" destId="{057A2FF9-572B-42A0-A09E-981D068FEB4C}" srcOrd="0" destOrd="0" presId="urn:microsoft.com/office/officeart/2005/8/layout/StepDownProcess"/>
    <dgm:cxn modelId="{0D8AA7FF-15AC-4663-A313-612327736A32}" srcId="{624E6FF1-E171-495C-91D7-BC2CD3B19EE2}" destId="{26814513-9910-4B8B-9638-B291B1DA0EE6}" srcOrd="3" destOrd="0" parTransId="{070EA9F6-3439-43C1-B3D1-E6307AD9ED4B}" sibTransId="{1F7A8124-836F-4CF7-9EB0-4D07280EA821}"/>
    <dgm:cxn modelId="{7647641D-3347-4EB1-B573-4DBCD5549B31}" type="presOf" srcId="{50BF1B1C-83FF-4090-9DB2-D8E89C449177}" destId="{EC39CA2C-62ED-4B45-A534-AACFD53AB711}" srcOrd="0" destOrd="0" presId="urn:microsoft.com/office/officeart/2005/8/layout/StepDownProcess"/>
    <dgm:cxn modelId="{BED20828-B97A-48D3-986C-C1E6C31374E3}" srcId="{624E6FF1-E171-495C-91D7-BC2CD3B19EE2}" destId="{AA229C39-FA88-414A-96A0-881D4CB46187}" srcOrd="0" destOrd="0" parTransId="{F5F76FA7-E360-448B-9B85-E90EE858AECD}" sibTransId="{3AB1FD25-C189-4296-9A91-C785B474E69F}"/>
    <dgm:cxn modelId="{A751A783-DA74-4D41-AC3A-D6019F54B5BC}" srcId="{624E6FF1-E171-495C-91D7-BC2CD3B19EE2}" destId="{26B0DE5F-EEC2-487E-8C22-475AE54B0F05}" srcOrd="1" destOrd="0" parTransId="{A84FB76D-AF60-41B4-8700-D2C512544622}" sibTransId="{CC9527D3-59B4-4E46-8085-F5DCF5B3B1C4}"/>
    <dgm:cxn modelId="{1FA0FB0D-9CAA-4929-94F5-018325393937}" type="presOf" srcId="{26B0DE5F-EEC2-487E-8C22-475AE54B0F05}" destId="{56A62319-D22D-459A-8622-79140E2F0990}" srcOrd="0" destOrd="0" presId="urn:microsoft.com/office/officeart/2005/8/layout/StepDownProcess"/>
    <dgm:cxn modelId="{E7604831-C653-4D5A-8401-5FB04BE68A79}" srcId="{624E6FF1-E171-495C-91D7-BC2CD3B19EE2}" destId="{50BF1B1C-83FF-4090-9DB2-D8E89C449177}" srcOrd="4" destOrd="0" parTransId="{52FB58D0-E269-45E4-ADB2-734EC3540152}" sibTransId="{F415B774-80EB-42AF-B3C2-B6C6BE067C5F}"/>
    <dgm:cxn modelId="{BE6FD984-96C9-4099-AD2D-98E617498989}" srcId="{624E6FF1-E171-495C-91D7-BC2CD3B19EE2}" destId="{B0EC43C0-728D-4947-B42E-F6C24D4539E0}" srcOrd="2" destOrd="0" parTransId="{C717097E-4900-4ADA-8859-4A00DD331760}" sibTransId="{2DCC2554-524A-42AA-BF5D-5806C46CDE96}"/>
    <dgm:cxn modelId="{85E76D94-CD47-4A79-BFDE-234B73533377}" type="presParOf" srcId="{7AA11C13-FC54-4334-BEDD-33F6B124C5F2}" destId="{CBCD03DC-953E-4FE1-B1E3-15B898BE7DC1}" srcOrd="0" destOrd="0" presId="urn:microsoft.com/office/officeart/2005/8/layout/StepDownProcess"/>
    <dgm:cxn modelId="{06E04192-085A-4514-995A-605B0094ACB8}" type="presParOf" srcId="{CBCD03DC-953E-4FE1-B1E3-15B898BE7DC1}" destId="{D38E8731-1C8D-4997-9949-1880E38E63A0}" srcOrd="0" destOrd="0" presId="urn:microsoft.com/office/officeart/2005/8/layout/StepDownProcess"/>
    <dgm:cxn modelId="{FE9AD71E-44F1-4903-8AC3-1B4063E29B42}" type="presParOf" srcId="{CBCD03DC-953E-4FE1-B1E3-15B898BE7DC1}" destId="{904A735A-1C07-4345-BE3A-7C6DD38B51B8}" srcOrd="1" destOrd="0" presId="urn:microsoft.com/office/officeart/2005/8/layout/StepDownProcess"/>
    <dgm:cxn modelId="{8397638E-AF56-4ADB-B705-8C321E195E78}" type="presParOf" srcId="{CBCD03DC-953E-4FE1-B1E3-15B898BE7DC1}" destId="{BBB84E2F-9129-4B55-9E76-BA229075F43A}" srcOrd="2" destOrd="0" presId="urn:microsoft.com/office/officeart/2005/8/layout/StepDownProcess"/>
    <dgm:cxn modelId="{A2261089-DDDB-48D6-9238-3AA89EDC665B}" type="presParOf" srcId="{7AA11C13-FC54-4334-BEDD-33F6B124C5F2}" destId="{FE1ECCA0-0595-442B-8B41-945A820848D8}" srcOrd="1" destOrd="0" presId="urn:microsoft.com/office/officeart/2005/8/layout/StepDownProcess"/>
    <dgm:cxn modelId="{A331277C-AC51-469D-B60D-3C74B264EBAD}" type="presParOf" srcId="{7AA11C13-FC54-4334-BEDD-33F6B124C5F2}" destId="{92ED3E57-0FD2-4288-8B87-85819F747E71}" srcOrd="2" destOrd="0" presId="urn:microsoft.com/office/officeart/2005/8/layout/StepDownProcess"/>
    <dgm:cxn modelId="{C783BE0F-F350-4F19-AB97-A5CCF5673A13}" type="presParOf" srcId="{92ED3E57-0FD2-4288-8B87-85819F747E71}" destId="{AC629B5E-E78A-4DEC-A2EB-27A9FF83E531}" srcOrd="0" destOrd="0" presId="urn:microsoft.com/office/officeart/2005/8/layout/StepDownProcess"/>
    <dgm:cxn modelId="{F51DA3FB-7DAA-459C-9FD5-B9B6D2E3254A}" type="presParOf" srcId="{92ED3E57-0FD2-4288-8B87-85819F747E71}" destId="{56A62319-D22D-459A-8622-79140E2F0990}" srcOrd="1" destOrd="0" presId="urn:microsoft.com/office/officeart/2005/8/layout/StepDownProcess"/>
    <dgm:cxn modelId="{B0073E1E-9E1A-4129-8989-371E69349381}" type="presParOf" srcId="{92ED3E57-0FD2-4288-8B87-85819F747E71}" destId="{9206BCE7-2589-48FE-B023-8018DAE0CB75}" srcOrd="2" destOrd="0" presId="urn:microsoft.com/office/officeart/2005/8/layout/StepDownProcess"/>
    <dgm:cxn modelId="{C1FCF8E3-9A8D-463D-BD92-8EEB9F131AE8}" type="presParOf" srcId="{7AA11C13-FC54-4334-BEDD-33F6B124C5F2}" destId="{8109C0B0-5128-4F74-990A-45BEC967DD8B}" srcOrd="3" destOrd="0" presId="urn:microsoft.com/office/officeart/2005/8/layout/StepDownProcess"/>
    <dgm:cxn modelId="{837A8EBE-F8CC-4C9E-A0C8-0F3B989620A8}" type="presParOf" srcId="{7AA11C13-FC54-4334-BEDD-33F6B124C5F2}" destId="{B6D6BDE5-EF94-4ECB-A660-E5DFB03D4588}" srcOrd="4" destOrd="0" presId="urn:microsoft.com/office/officeart/2005/8/layout/StepDownProcess"/>
    <dgm:cxn modelId="{9304C8A5-998B-4752-AE71-D68611B2219D}" type="presParOf" srcId="{B6D6BDE5-EF94-4ECB-A660-E5DFB03D4588}" destId="{BD85D67A-A9A4-4B7E-864D-D1C91F3B459C}" srcOrd="0" destOrd="0" presId="urn:microsoft.com/office/officeart/2005/8/layout/StepDownProcess"/>
    <dgm:cxn modelId="{31CAD5A8-8200-4E45-9C67-1D9A5E099665}" type="presParOf" srcId="{B6D6BDE5-EF94-4ECB-A660-E5DFB03D4588}" destId="{EC46135E-9306-4284-A1EB-45CE1DD04FF6}" srcOrd="1" destOrd="0" presId="urn:microsoft.com/office/officeart/2005/8/layout/StepDownProcess"/>
    <dgm:cxn modelId="{7FC36BFA-41F2-4770-891C-2E027BDB05D6}" type="presParOf" srcId="{B6D6BDE5-EF94-4ECB-A660-E5DFB03D4588}" destId="{859377E2-E1CF-49A4-BC21-C70E3E435F90}" srcOrd="2" destOrd="0" presId="urn:microsoft.com/office/officeart/2005/8/layout/StepDownProcess"/>
    <dgm:cxn modelId="{87CA7D11-3A75-4AA2-A9F5-968257B883C7}" type="presParOf" srcId="{7AA11C13-FC54-4334-BEDD-33F6B124C5F2}" destId="{22C8D1C5-FDCD-453A-BB7F-354E488FDBB2}" srcOrd="5" destOrd="0" presId="urn:microsoft.com/office/officeart/2005/8/layout/StepDownProcess"/>
    <dgm:cxn modelId="{9EB6D64B-301A-4274-B83F-B9201EF110A8}" type="presParOf" srcId="{7AA11C13-FC54-4334-BEDD-33F6B124C5F2}" destId="{C492DA02-AA4F-4FF1-BF98-EAAF0B6EC1CA}" srcOrd="6" destOrd="0" presId="urn:microsoft.com/office/officeart/2005/8/layout/StepDownProcess"/>
    <dgm:cxn modelId="{D38E0A50-C122-4901-8F6E-1BDE0E9A6C1F}" type="presParOf" srcId="{C492DA02-AA4F-4FF1-BF98-EAAF0B6EC1CA}" destId="{0C5F0164-AEAA-4826-8354-AC6F1D291344}" srcOrd="0" destOrd="0" presId="urn:microsoft.com/office/officeart/2005/8/layout/StepDownProcess"/>
    <dgm:cxn modelId="{399DFAF4-CC58-4936-BC1F-0C2CD016662C}" type="presParOf" srcId="{C492DA02-AA4F-4FF1-BF98-EAAF0B6EC1CA}" destId="{81E778DF-CA4A-4B6E-8CD9-7428DBF4C765}" srcOrd="1" destOrd="0" presId="urn:microsoft.com/office/officeart/2005/8/layout/StepDownProcess"/>
    <dgm:cxn modelId="{EE103CC5-2809-418E-B4CE-850E24824BB3}" type="presParOf" srcId="{C492DA02-AA4F-4FF1-BF98-EAAF0B6EC1CA}" destId="{DA14843C-6F1C-4DAB-8769-AC50FDABBB7B}" srcOrd="2" destOrd="0" presId="urn:microsoft.com/office/officeart/2005/8/layout/StepDownProcess"/>
    <dgm:cxn modelId="{C4F8983E-87D5-4CB6-982B-9CB54C9D18FE}" type="presParOf" srcId="{7AA11C13-FC54-4334-BEDD-33F6B124C5F2}" destId="{41A72EFA-D068-4F9A-9E0E-C02546CFC6B7}" srcOrd="7" destOrd="0" presId="urn:microsoft.com/office/officeart/2005/8/layout/StepDownProcess"/>
    <dgm:cxn modelId="{010D7A56-0232-410E-8D2C-C1DC7D23A57D}" type="presParOf" srcId="{7AA11C13-FC54-4334-BEDD-33F6B124C5F2}" destId="{ADC00C61-24AA-4FCD-8685-060DB17F21CA}" srcOrd="8" destOrd="0" presId="urn:microsoft.com/office/officeart/2005/8/layout/StepDownProcess"/>
    <dgm:cxn modelId="{71276127-CED0-40A2-B801-B7446F0B048B}" type="presParOf" srcId="{ADC00C61-24AA-4FCD-8685-060DB17F21CA}" destId="{863E5CAE-BC42-4299-B462-31B49D4AAFBB}" srcOrd="0" destOrd="0" presId="urn:microsoft.com/office/officeart/2005/8/layout/StepDownProcess"/>
    <dgm:cxn modelId="{16892663-BF6D-4E97-832D-ED408788A0A6}" type="presParOf" srcId="{ADC00C61-24AA-4FCD-8685-060DB17F21CA}" destId="{EC39CA2C-62ED-4B45-A534-AACFD53AB711}" srcOrd="1" destOrd="0" presId="urn:microsoft.com/office/officeart/2005/8/layout/StepDownProcess"/>
    <dgm:cxn modelId="{C7085DC7-9113-42B8-A152-3D784EB9F294}" type="presParOf" srcId="{ADC00C61-24AA-4FCD-8685-060DB17F21CA}" destId="{C869902F-6F03-42EA-A7B4-6AE4CF97CFCE}" srcOrd="2" destOrd="0" presId="urn:microsoft.com/office/officeart/2005/8/layout/StepDownProcess"/>
    <dgm:cxn modelId="{D6520291-8008-404A-B277-DD7268E87CDD}" type="presParOf" srcId="{7AA11C13-FC54-4334-BEDD-33F6B124C5F2}" destId="{C9DEF526-05BE-40C3-8EA6-22FE45C5ADD0}" srcOrd="9" destOrd="0" presId="urn:microsoft.com/office/officeart/2005/8/layout/StepDownProcess"/>
    <dgm:cxn modelId="{EBBE671B-946D-435B-9D06-4C60D5B965E6}" type="presParOf" srcId="{7AA11C13-FC54-4334-BEDD-33F6B124C5F2}" destId="{1AB8D4D6-3292-4C24-9949-815412CD2EB1}" srcOrd="10" destOrd="0" presId="urn:microsoft.com/office/officeart/2005/8/layout/StepDownProcess"/>
    <dgm:cxn modelId="{85EDE882-2F61-4F3F-802C-EF5F43466C21}" type="presParOf" srcId="{1AB8D4D6-3292-4C24-9949-815412CD2EB1}" destId="{057A2FF9-572B-42A0-A09E-981D068FEB4C}" srcOrd="0" destOrd="0" presId="urn:microsoft.com/office/officeart/2005/8/layout/StepDownProcess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9F0CBDE-CD87-4C4A-ADBE-ACCD3233FF9B}" type="doc">
      <dgm:prSet loTypeId="urn:microsoft.com/office/officeart/2008/layout/AscendingPictureAccentProcess" loCatId="process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FE7FD9B-C5BB-4C5D-8B81-4C10AC0ABB30}">
      <dgm:prSet phldrT="[Text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sz="1600" b="1" dirty="0" smtClean="0">
              <a:solidFill>
                <a:schemeClr val="tx1"/>
              </a:solidFill>
              <a:latin typeface="+mn-lt"/>
            </a:rPr>
            <a:t>Requirement Analysis</a:t>
          </a:r>
          <a:endParaRPr lang="en-US" sz="1600" b="1" dirty="0">
            <a:solidFill>
              <a:schemeClr val="tx1"/>
            </a:solidFill>
            <a:latin typeface="+mn-lt"/>
          </a:endParaRPr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1" action="ppaction://hlinksldjump"/>
          </dgm14:cNvPr>
        </a:ext>
      </dgm:extLst>
    </dgm:pt>
    <dgm:pt modelId="{FA9B6937-576A-4082-952B-3B85FF6C669A}" type="parTrans" cxnId="{1E8CCE2A-DC97-468C-BD3D-57F2FA2968B0}">
      <dgm:prSet/>
      <dgm:spPr/>
      <dgm:t>
        <a:bodyPr/>
        <a:lstStyle/>
        <a:p>
          <a:endParaRPr lang="en-US"/>
        </a:p>
      </dgm:t>
    </dgm:pt>
    <dgm:pt modelId="{519B0DD7-8E86-42DC-A668-7A2EE69FAD4C}" type="sibTrans" cxnId="{1E8CCE2A-DC97-468C-BD3D-57F2FA2968B0}">
      <dgm:prSet/>
      <dgm:spPr/>
      <dgm:t>
        <a:bodyPr/>
        <a:lstStyle/>
        <a:p>
          <a:endParaRPr lang="en-US"/>
        </a:p>
      </dgm:t>
    </dgm:pt>
    <dgm:pt modelId="{545680D8-CC72-43BE-867B-683F1D594CDC}">
      <dgm:prSet phldrT="[Text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sz="1600" b="1" dirty="0" smtClean="0">
              <a:solidFill>
                <a:schemeClr val="tx1"/>
              </a:solidFill>
              <a:latin typeface="+mn-lt"/>
            </a:rPr>
            <a:t>Tables creation </a:t>
          </a:r>
          <a:endParaRPr lang="en-US" sz="1600" b="1" dirty="0">
            <a:solidFill>
              <a:schemeClr val="tx1"/>
            </a:solidFill>
            <a:latin typeface="+mn-lt"/>
          </a:endParaRPr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2" action="ppaction://hlinksldjump"/>
          </dgm14:cNvPr>
        </a:ext>
      </dgm:extLst>
    </dgm:pt>
    <dgm:pt modelId="{CC94EAFD-A667-4090-B7A8-75C0904DB29A}" type="parTrans" cxnId="{323FA299-929D-4FBA-8506-6F487B818591}">
      <dgm:prSet/>
      <dgm:spPr/>
      <dgm:t>
        <a:bodyPr/>
        <a:lstStyle/>
        <a:p>
          <a:endParaRPr lang="en-US"/>
        </a:p>
      </dgm:t>
    </dgm:pt>
    <dgm:pt modelId="{3BFDA78B-0FA4-4DD9-B9CB-EE42E08D8D8B}" type="sibTrans" cxnId="{323FA299-929D-4FBA-8506-6F487B818591}">
      <dgm:prSet/>
      <dgm:spPr/>
      <dgm:t>
        <a:bodyPr/>
        <a:lstStyle/>
        <a:p>
          <a:endParaRPr lang="en-US"/>
        </a:p>
      </dgm:t>
    </dgm:pt>
    <dgm:pt modelId="{93B22052-7D64-404D-9298-6A70041596BD}">
      <dgm:prSet phldrT="[Text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sz="1600" b="1" dirty="0" smtClean="0">
              <a:solidFill>
                <a:schemeClr val="tx1"/>
              </a:solidFill>
              <a:latin typeface="+mn-lt"/>
            </a:rPr>
            <a:t>Validation</a:t>
          </a:r>
          <a:endParaRPr lang="en-US" sz="1600" b="1" dirty="0">
            <a:solidFill>
              <a:schemeClr val="tx1"/>
            </a:solidFill>
            <a:latin typeface="+mn-lt"/>
          </a:endParaRPr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3" action="ppaction://hlinksldjump"/>
          </dgm14:cNvPr>
        </a:ext>
      </dgm:extLst>
    </dgm:pt>
    <dgm:pt modelId="{048706A4-5E2A-4007-A6EC-06635644656B}" type="parTrans" cxnId="{5E76092B-5FCA-4F22-BA55-643E63922173}">
      <dgm:prSet/>
      <dgm:spPr/>
      <dgm:t>
        <a:bodyPr/>
        <a:lstStyle/>
        <a:p>
          <a:endParaRPr lang="en-US"/>
        </a:p>
      </dgm:t>
    </dgm:pt>
    <dgm:pt modelId="{43D791BB-E9B6-418B-BB4F-D3BBDF405E15}" type="sibTrans" cxnId="{5E76092B-5FCA-4F22-BA55-643E63922173}">
      <dgm:prSet/>
      <dgm:spPr/>
      <dgm:t>
        <a:bodyPr/>
        <a:lstStyle/>
        <a:p>
          <a:endParaRPr lang="en-US"/>
        </a:p>
      </dgm:t>
    </dgm:pt>
    <dgm:pt modelId="{6F276173-D4E7-4EC0-A05A-4F199BF37B02}">
      <dgm:prSet phldrT="[Text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sz="1600" b="1" dirty="0" smtClean="0">
              <a:solidFill>
                <a:schemeClr val="tx1"/>
              </a:solidFill>
              <a:latin typeface="+mn-lt"/>
            </a:rPr>
            <a:t>Forms </a:t>
          </a:r>
          <a:endParaRPr lang="en-US" sz="1600" b="1" dirty="0">
            <a:solidFill>
              <a:schemeClr val="tx1"/>
            </a:solidFill>
            <a:latin typeface="+mn-lt"/>
          </a:endParaRPr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4" action="ppaction://hlinksldjump"/>
          </dgm14:cNvPr>
        </a:ext>
      </dgm:extLst>
    </dgm:pt>
    <dgm:pt modelId="{B34AC768-CF5F-4E1D-A32B-B24005A954AA}" type="parTrans" cxnId="{002DEB27-C0C6-478B-ADEB-95BC31AB589F}">
      <dgm:prSet/>
      <dgm:spPr/>
      <dgm:t>
        <a:bodyPr/>
        <a:lstStyle/>
        <a:p>
          <a:endParaRPr lang="en-US"/>
        </a:p>
      </dgm:t>
    </dgm:pt>
    <dgm:pt modelId="{909939C6-1B6A-482D-A594-C784DA978DCE}" type="sibTrans" cxnId="{002DEB27-C0C6-478B-ADEB-95BC31AB589F}">
      <dgm:prSet/>
      <dgm:spPr/>
      <dgm:t>
        <a:bodyPr/>
        <a:lstStyle/>
        <a:p>
          <a:endParaRPr lang="en-US"/>
        </a:p>
      </dgm:t>
    </dgm:pt>
    <dgm:pt modelId="{17C4B40D-1E7A-4227-BC6B-4EA74F33A029}">
      <dgm:prSet phldrT="[Text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sz="1600" b="1" dirty="0" smtClean="0">
              <a:solidFill>
                <a:schemeClr val="tx1"/>
              </a:solidFill>
              <a:latin typeface="+mn-lt"/>
            </a:rPr>
            <a:t>Oracle application</a:t>
          </a:r>
          <a:endParaRPr lang="en-US" sz="1600" b="1" dirty="0">
            <a:solidFill>
              <a:schemeClr val="tx1"/>
            </a:solidFill>
            <a:latin typeface="+mn-lt"/>
          </a:endParaRPr>
        </a:p>
      </dgm:t>
    </dgm:pt>
    <dgm:pt modelId="{E549F1E3-F00D-4EF7-9058-A7E05BDAECF1}" type="parTrans" cxnId="{3D2BE751-1CEC-493A-9D73-373FA48D3894}">
      <dgm:prSet/>
      <dgm:spPr/>
      <dgm:t>
        <a:bodyPr/>
        <a:lstStyle/>
        <a:p>
          <a:endParaRPr lang="en-US"/>
        </a:p>
      </dgm:t>
    </dgm:pt>
    <dgm:pt modelId="{92B8A0F8-9A9B-47B5-A7FF-87D62DE01F12}" type="sibTrans" cxnId="{3D2BE751-1CEC-493A-9D73-373FA48D3894}">
      <dgm:prSet/>
      <dgm:spPr/>
      <dgm:t>
        <a:bodyPr/>
        <a:lstStyle/>
        <a:p>
          <a:endParaRPr lang="en-US"/>
        </a:p>
      </dgm:t>
    </dgm:pt>
    <dgm:pt modelId="{182DCD69-CC2B-4331-A1F9-6D3695D9048F}">
      <dgm:prSet phldrT="[Text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sz="1600" b="1" dirty="0" smtClean="0">
              <a:solidFill>
                <a:schemeClr val="tx1"/>
              </a:solidFill>
              <a:latin typeface="+mn-lt"/>
            </a:rPr>
            <a:t>Reports</a:t>
          </a:r>
          <a:endParaRPr lang="en-US" sz="1900" b="1" dirty="0">
            <a:solidFill>
              <a:schemeClr val="tx1"/>
            </a:solidFill>
            <a:latin typeface="+mn-lt"/>
          </a:endParaRPr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5" action="ppaction://hlinksldjump"/>
          </dgm14:cNvPr>
        </a:ext>
      </dgm:extLst>
    </dgm:pt>
    <dgm:pt modelId="{63038D0E-3CC3-496E-ADFA-A55EA6819B67}" type="parTrans" cxnId="{A280A2B4-D64C-436E-B5DA-ACB83AF49E1A}">
      <dgm:prSet/>
      <dgm:spPr/>
      <dgm:t>
        <a:bodyPr/>
        <a:lstStyle/>
        <a:p>
          <a:endParaRPr lang="en-US"/>
        </a:p>
      </dgm:t>
    </dgm:pt>
    <dgm:pt modelId="{DF275EE1-9F8B-43B5-9F9F-807214ADC966}" type="sibTrans" cxnId="{A280A2B4-D64C-436E-B5DA-ACB83AF49E1A}">
      <dgm:prSet/>
      <dgm:spPr/>
      <dgm:t>
        <a:bodyPr/>
        <a:lstStyle/>
        <a:p>
          <a:endParaRPr lang="en-US"/>
        </a:p>
      </dgm:t>
    </dgm:pt>
    <dgm:pt modelId="{E6328AFC-AF95-4AB2-9DF3-F13777E2BBD8}" type="pres">
      <dgm:prSet presAssocID="{D9F0CBDE-CD87-4C4A-ADBE-ACCD3233FF9B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D92F5D3D-C137-4A48-99C2-83E2DC280454}" type="pres">
      <dgm:prSet presAssocID="{D9F0CBDE-CD87-4C4A-ADBE-ACCD3233FF9B}" presName="dot1" presStyleLbl="alignNode1" presStyleIdx="0" presStyleCnt="17"/>
      <dgm:spPr/>
    </dgm:pt>
    <dgm:pt modelId="{DC3F16E0-3025-445D-A2D1-34FB8083BD46}" type="pres">
      <dgm:prSet presAssocID="{D9F0CBDE-CD87-4C4A-ADBE-ACCD3233FF9B}" presName="dot2" presStyleLbl="alignNode1" presStyleIdx="1" presStyleCnt="17"/>
      <dgm:spPr/>
    </dgm:pt>
    <dgm:pt modelId="{26357AA2-6FCF-4217-B1EF-FCDA32391B54}" type="pres">
      <dgm:prSet presAssocID="{D9F0CBDE-CD87-4C4A-ADBE-ACCD3233FF9B}" presName="dot3" presStyleLbl="alignNode1" presStyleIdx="2" presStyleCnt="17"/>
      <dgm:spPr/>
    </dgm:pt>
    <dgm:pt modelId="{96E1D0D2-46E0-4629-9118-75D195AC777F}" type="pres">
      <dgm:prSet presAssocID="{D9F0CBDE-CD87-4C4A-ADBE-ACCD3233FF9B}" presName="dot4" presStyleLbl="alignNode1" presStyleIdx="3" presStyleCnt="17"/>
      <dgm:spPr/>
    </dgm:pt>
    <dgm:pt modelId="{03C83F50-B40E-418D-A782-EF428E6026FA}" type="pres">
      <dgm:prSet presAssocID="{D9F0CBDE-CD87-4C4A-ADBE-ACCD3233FF9B}" presName="dot5" presStyleLbl="alignNode1" presStyleIdx="4" presStyleCnt="17"/>
      <dgm:spPr/>
    </dgm:pt>
    <dgm:pt modelId="{3B9F8EC8-E89C-4071-A938-D33066EE3FEA}" type="pres">
      <dgm:prSet presAssocID="{D9F0CBDE-CD87-4C4A-ADBE-ACCD3233FF9B}" presName="dot6" presStyleLbl="alignNode1" presStyleIdx="5" presStyleCnt="17"/>
      <dgm:spPr/>
    </dgm:pt>
    <dgm:pt modelId="{512C8857-D2E7-41F5-9BDB-B265CE642C66}" type="pres">
      <dgm:prSet presAssocID="{D9F0CBDE-CD87-4C4A-ADBE-ACCD3233FF9B}" presName="dot7" presStyleLbl="alignNode1" presStyleIdx="6" presStyleCnt="17"/>
      <dgm:spPr/>
    </dgm:pt>
    <dgm:pt modelId="{05E88AC1-B35F-4BC2-AD94-5F25484AECB7}" type="pres">
      <dgm:prSet presAssocID="{D9F0CBDE-CD87-4C4A-ADBE-ACCD3233FF9B}" presName="dot8" presStyleLbl="alignNode1" presStyleIdx="7" presStyleCnt="17"/>
      <dgm:spPr/>
    </dgm:pt>
    <dgm:pt modelId="{8F2F4B11-6849-4374-B69A-12CAE6D219EF}" type="pres">
      <dgm:prSet presAssocID="{D9F0CBDE-CD87-4C4A-ADBE-ACCD3233FF9B}" presName="dot9" presStyleLbl="alignNode1" presStyleIdx="8" presStyleCnt="17"/>
      <dgm:spPr/>
    </dgm:pt>
    <dgm:pt modelId="{C851501C-772C-4D3C-B32C-2EC45D608EFB}" type="pres">
      <dgm:prSet presAssocID="{D9F0CBDE-CD87-4C4A-ADBE-ACCD3233FF9B}" presName="dot10" presStyleLbl="alignNode1" presStyleIdx="9" presStyleCnt="17"/>
      <dgm:spPr/>
    </dgm:pt>
    <dgm:pt modelId="{E04AF0A9-5CA6-4960-B7F5-9A5A5F06ADD7}" type="pres">
      <dgm:prSet presAssocID="{D9F0CBDE-CD87-4C4A-ADBE-ACCD3233FF9B}" presName="dotArrow1" presStyleLbl="alignNode1" presStyleIdx="10" presStyleCnt="17"/>
      <dgm:spPr/>
    </dgm:pt>
    <dgm:pt modelId="{75A17C95-062A-4F63-AAC2-4CA783454EDA}" type="pres">
      <dgm:prSet presAssocID="{D9F0CBDE-CD87-4C4A-ADBE-ACCD3233FF9B}" presName="dotArrow2" presStyleLbl="alignNode1" presStyleIdx="11" presStyleCnt="17"/>
      <dgm:spPr/>
    </dgm:pt>
    <dgm:pt modelId="{93BC9974-2FC9-42BB-A669-DE9109452B46}" type="pres">
      <dgm:prSet presAssocID="{D9F0CBDE-CD87-4C4A-ADBE-ACCD3233FF9B}" presName="dotArrow3" presStyleLbl="alignNode1" presStyleIdx="12" presStyleCnt="17"/>
      <dgm:spPr/>
    </dgm:pt>
    <dgm:pt modelId="{A5AB87EE-B9FC-440E-A23B-B796355B20B2}" type="pres">
      <dgm:prSet presAssocID="{D9F0CBDE-CD87-4C4A-ADBE-ACCD3233FF9B}" presName="dotArrow4" presStyleLbl="alignNode1" presStyleIdx="13" presStyleCnt="17"/>
      <dgm:spPr/>
    </dgm:pt>
    <dgm:pt modelId="{5D39112D-BC26-4E41-8A52-8CC3D5997D53}" type="pres">
      <dgm:prSet presAssocID="{D9F0CBDE-CD87-4C4A-ADBE-ACCD3233FF9B}" presName="dotArrow5" presStyleLbl="alignNode1" presStyleIdx="14" presStyleCnt="17"/>
      <dgm:spPr/>
    </dgm:pt>
    <dgm:pt modelId="{98C54A14-E219-4610-AA17-1146A8D8527D}" type="pres">
      <dgm:prSet presAssocID="{D9F0CBDE-CD87-4C4A-ADBE-ACCD3233FF9B}" presName="dotArrow6" presStyleLbl="alignNode1" presStyleIdx="15" presStyleCnt="17"/>
      <dgm:spPr/>
    </dgm:pt>
    <dgm:pt modelId="{5128C706-F37A-4318-93B0-B5F4CC209AC5}" type="pres">
      <dgm:prSet presAssocID="{D9F0CBDE-CD87-4C4A-ADBE-ACCD3233FF9B}" presName="dotArrow7" presStyleLbl="alignNode1" presStyleIdx="16" presStyleCnt="17"/>
      <dgm:spPr/>
    </dgm:pt>
    <dgm:pt modelId="{D540E7B0-3C50-4F7C-B933-3A80EB86F1C7}" type="pres">
      <dgm:prSet presAssocID="{6FE7FD9B-C5BB-4C5D-8B81-4C10AC0ABB30}" presName="parTx1" presStyleLbl="node1" presStyleIdx="0" presStyleCnt="6" custScaleY="105664"/>
      <dgm:spPr/>
      <dgm:t>
        <a:bodyPr/>
        <a:lstStyle/>
        <a:p>
          <a:endParaRPr lang="en-US"/>
        </a:p>
      </dgm:t>
    </dgm:pt>
    <dgm:pt modelId="{50F0DA41-FDAA-4178-A933-40C7A52E6DA8}" type="pres">
      <dgm:prSet presAssocID="{519B0DD7-8E86-42DC-A668-7A2EE69FAD4C}" presName="picture1" presStyleCnt="0"/>
      <dgm:spPr/>
    </dgm:pt>
    <dgm:pt modelId="{73BE3F98-9A26-4935-A22B-B9F203566C97}" type="pres">
      <dgm:prSet presAssocID="{519B0DD7-8E86-42DC-A668-7A2EE69FAD4C}" presName="imageRepeatNode" presStyleLbl="fgImgPlace1" presStyleIdx="0" presStyleCnt="6"/>
      <dgm:spPr/>
      <dgm:t>
        <a:bodyPr/>
        <a:lstStyle/>
        <a:p>
          <a:endParaRPr lang="en-US"/>
        </a:p>
      </dgm:t>
    </dgm:pt>
    <dgm:pt modelId="{AAB46B40-2333-4840-AD5A-0AA462BFB5F5}" type="pres">
      <dgm:prSet presAssocID="{545680D8-CC72-43BE-867B-683F1D594CDC}" presName="parTx2" presStyleLbl="node1" presStyleIdx="1" presStyleCnt="6"/>
      <dgm:spPr/>
      <dgm:t>
        <a:bodyPr/>
        <a:lstStyle/>
        <a:p>
          <a:endParaRPr lang="en-US"/>
        </a:p>
      </dgm:t>
    </dgm:pt>
    <dgm:pt modelId="{B2EC8AE6-A1E4-48E3-A403-9DE774D158D2}" type="pres">
      <dgm:prSet presAssocID="{3BFDA78B-0FA4-4DD9-B9CB-EE42E08D8D8B}" presName="picture2" presStyleCnt="0"/>
      <dgm:spPr/>
    </dgm:pt>
    <dgm:pt modelId="{0FE59940-D244-4CD6-903E-FE3EEFD85DFA}" type="pres">
      <dgm:prSet presAssocID="{3BFDA78B-0FA4-4DD9-B9CB-EE42E08D8D8B}" presName="imageRepeatNode" presStyleLbl="fgImgPlace1" presStyleIdx="1" presStyleCnt="6"/>
      <dgm:spPr/>
      <dgm:t>
        <a:bodyPr/>
        <a:lstStyle/>
        <a:p>
          <a:endParaRPr lang="en-US"/>
        </a:p>
      </dgm:t>
    </dgm:pt>
    <dgm:pt modelId="{C9109849-B1EE-44F1-B4C1-F8F76971E49B}" type="pres">
      <dgm:prSet presAssocID="{93B22052-7D64-404D-9298-6A70041596BD}" presName="parTx3" presStyleLbl="node1" presStyleIdx="2" presStyleCnt="6"/>
      <dgm:spPr/>
      <dgm:t>
        <a:bodyPr/>
        <a:lstStyle/>
        <a:p>
          <a:endParaRPr lang="en-US"/>
        </a:p>
      </dgm:t>
    </dgm:pt>
    <dgm:pt modelId="{EDDA551C-ED46-437D-97C5-55983A9BC328}" type="pres">
      <dgm:prSet presAssocID="{43D791BB-E9B6-418B-BB4F-D3BBDF405E15}" presName="picture3" presStyleCnt="0"/>
      <dgm:spPr/>
    </dgm:pt>
    <dgm:pt modelId="{0CC39AD8-F4B7-47EB-BE26-1746DBC66816}" type="pres">
      <dgm:prSet presAssocID="{43D791BB-E9B6-418B-BB4F-D3BBDF405E15}" presName="imageRepeatNode" presStyleLbl="fgImgPlace1" presStyleIdx="2" presStyleCnt="6"/>
      <dgm:spPr/>
      <dgm:t>
        <a:bodyPr/>
        <a:lstStyle/>
        <a:p>
          <a:endParaRPr lang="en-US"/>
        </a:p>
      </dgm:t>
    </dgm:pt>
    <dgm:pt modelId="{C487B77E-DC4F-4E0F-A2F2-7260F613F95F}" type="pres">
      <dgm:prSet presAssocID="{6F276173-D4E7-4EC0-A05A-4F199BF37B02}" presName="parTx4" presStyleLbl="node1" presStyleIdx="3" presStyleCnt="6"/>
      <dgm:spPr/>
      <dgm:t>
        <a:bodyPr/>
        <a:lstStyle/>
        <a:p>
          <a:endParaRPr lang="en-US"/>
        </a:p>
      </dgm:t>
    </dgm:pt>
    <dgm:pt modelId="{8F7D6845-964B-4440-BA36-C2D253A842A2}" type="pres">
      <dgm:prSet presAssocID="{909939C6-1B6A-482D-A594-C784DA978DCE}" presName="picture4" presStyleCnt="0"/>
      <dgm:spPr/>
    </dgm:pt>
    <dgm:pt modelId="{9D3504D0-C4C7-467D-97D3-80704BD6A910}" type="pres">
      <dgm:prSet presAssocID="{909939C6-1B6A-482D-A594-C784DA978DCE}" presName="imageRepeatNode" presStyleLbl="fgImgPlace1" presStyleIdx="3" presStyleCnt="6"/>
      <dgm:spPr/>
      <dgm:t>
        <a:bodyPr/>
        <a:lstStyle/>
        <a:p>
          <a:endParaRPr lang="en-US"/>
        </a:p>
      </dgm:t>
    </dgm:pt>
    <dgm:pt modelId="{346D83BD-7216-45E5-989A-57DC097B2DDD}" type="pres">
      <dgm:prSet presAssocID="{182DCD69-CC2B-4331-A1F9-6D3695D9048F}" presName="parTx5" presStyleLbl="node1" presStyleIdx="4" presStyleCnt="6"/>
      <dgm:spPr/>
      <dgm:t>
        <a:bodyPr/>
        <a:lstStyle/>
        <a:p>
          <a:endParaRPr lang="en-US"/>
        </a:p>
      </dgm:t>
    </dgm:pt>
    <dgm:pt modelId="{8DE87F67-A0AB-429C-8325-AD205E2427F3}" type="pres">
      <dgm:prSet presAssocID="{DF275EE1-9F8B-43B5-9F9F-807214ADC966}" presName="picture5" presStyleCnt="0"/>
      <dgm:spPr/>
    </dgm:pt>
    <dgm:pt modelId="{A84FBB5E-45FB-4EB9-B75C-0E7AD5A77F65}" type="pres">
      <dgm:prSet presAssocID="{DF275EE1-9F8B-43B5-9F9F-807214ADC966}" presName="imageRepeatNode" presStyleLbl="fgImgPlace1" presStyleIdx="4" presStyleCnt="6"/>
      <dgm:spPr/>
      <dgm:t>
        <a:bodyPr/>
        <a:lstStyle/>
        <a:p>
          <a:endParaRPr lang="en-US"/>
        </a:p>
      </dgm:t>
    </dgm:pt>
    <dgm:pt modelId="{994210E2-25CA-4CE5-A1F1-0C321FB4B58F}" type="pres">
      <dgm:prSet presAssocID="{17C4B40D-1E7A-4227-BC6B-4EA74F33A029}" presName="parTx6" presStyleLbl="node1" presStyleIdx="5" presStyleCnt="6"/>
      <dgm:spPr/>
      <dgm:t>
        <a:bodyPr/>
        <a:lstStyle/>
        <a:p>
          <a:endParaRPr lang="en-US"/>
        </a:p>
      </dgm:t>
    </dgm:pt>
    <dgm:pt modelId="{655B2D98-F7D1-4D2F-8C33-3CC0284C46D0}" type="pres">
      <dgm:prSet presAssocID="{92B8A0F8-9A9B-47B5-A7FF-87D62DE01F12}" presName="picture6" presStyleCnt="0"/>
      <dgm:spPr/>
    </dgm:pt>
    <dgm:pt modelId="{49A067B6-5E64-43CF-9279-A54E852BCB36}" type="pres">
      <dgm:prSet presAssocID="{92B8A0F8-9A9B-47B5-A7FF-87D62DE01F12}" presName="imageRepeatNode" presStyleLbl="fgImgPlace1" presStyleIdx="5" presStyleCnt="6"/>
      <dgm:spPr/>
      <dgm:t>
        <a:bodyPr/>
        <a:lstStyle/>
        <a:p>
          <a:endParaRPr lang="en-US"/>
        </a:p>
      </dgm:t>
    </dgm:pt>
  </dgm:ptLst>
  <dgm:cxnLst>
    <dgm:cxn modelId="{D5CD355C-CF1A-4E03-A467-C3B1E875D9E7}" type="presOf" srcId="{D9F0CBDE-CD87-4C4A-ADBE-ACCD3233FF9B}" destId="{E6328AFC-AF95-4AB2-9DF3-F13777E2BBD8}" srcOrd="0" destOrd="0" presId="urn:microsoft.com/office/officeart/2008/layout/AscendingPictureAccentProcess"/>
    <dgm:cxn modelId="{E0FD6CD6-E0BB-4C88-A202-8B3601C454E8}" type="presOf" srcId="{909939C6-1B6A-482D-A594-C784DA978DCE}" destId="{9D3504D0-C4C7-467D-97D3-80704BD6A910}" srcOrd="0" destOrd="0" presId="urn:microsoft.com/office/officeart/2008/layout/AscendingPictureAccentProcess"/>
    <dgm:cxn modelId="{00642A2B-1822-4F57-A088-00941D32BED1}" type="presOf" srcId="{6F276173-D4E7-4EC0-A05A-4F199BF37B02}" destId="{C487B77E-DC4F-4E0F-A2F2-7260F613F95F}" srcOrd="0" destOrd="0" presId="urn:microsoft.com/office/officeart/2008/layout/AscendingPictureAccentProcess"/>
    <dgm:cxn modelId="{BB841440-13E2-4469-933B-D919368D1C6C}" type="presOf" srcId="{93B22052-7D64-404D-9298-6A70041596BD}" destId="{C9109849-B1EE-44F1-B4C1-F8F76971E49B}" srcOrd="0" destOrd="0" presId="urn:microsoft.com/office/officeart/2008/layout/AscendingPictureAccentProcess"/>
    <dgm:cxn modelId="{A280A2B4-D64C-436E-B5DA-ACB83AF49E1A}" srcId="{D9F0CBDE-CD87-4C4A-ADBE-ACCD3233FF9B}" destId="{182DCD69-CC2B-4331-A1F9-6D3695D9048F}" srcOrd="4" destOrd="0" parTransId="{63038D0E-3CC3-496E-ADFA-A55EA6819B67}" sibTransId="{DF275EE1-9F8B-43B5-9F9F-807214ADC966}"/>
    <dgm:cxn modelId="{0FB05864-B649-4A15-8171-9A0D74182CBB}" type="presOf" srcId="{182DCD69-CC2B-4331-A1F9-6D3695D9048F}" destId="{346D83BD-7216-45E5-989A-57DC097B2DDD}" srcOrd="0" destOrd="0" presId="urn:microsoft.com/office/officeart/2008/layout/AscendingPictureAccentProcess"/>
    <dgm:cxn modelId="{687ED937-F8A7-4E40-AE38-D721E547BDA6}" type="presOf" srcId="{43D791BB-E9B6-418B-BB4F-D3BBDF405E15}" destId="{0CC39AD8-F4B7-47EB-BE26-1746DBC66816}" srcOrd="0" destOrd="0" presId="urn:microsoft.com/office/officeart/2008/layout/AscendingPictureAccentProcess"/>
    <dgm:cxn modelId="{3D2BE751-1CEC-493A-9D73-373FA48D3894}" srcId="{D9F0CBDE-CD87-4C4A-ADBE-ACCD3233FF9B}" destId="{17C4B40D-1E7A-4227-BC6B-4EA74F33A029}" srcOrd="5" destOrd="0" parTransId="{E549F1E3-F00D-4EF7-9058-A7E05BDAECF1}" sibTransId="{92B8A0F8-9A9B-47B5-A7FF-87D62DE01F12}"/>
    <dgm:cxn modelId="{9A024BF3-BBBA-4536-93DA-728DBBE6F43A}" type="presOf" srcId="{DF275EE1-9F8B-43B5-9F9F-807214ADC966}" destId="{A84FBB5E-45FB-4EB9-B75C-0E7AD5A77F65}" srcOrd="0" destOrd="0" presId="urn:microsoft.com/office/officeart/2008/layout/AscendingPictureAccentProcess"/>
    <dgm:cxn modelId="{002DEB27-C0C6-478B-ADEB-95BC31AB589F}" srcId="{D9F0CBDE-CD87-4C4A-ADBE-ACCD3233FF9B}" destId="{6F276173-D4E7-4EC0-A05A-4F199BF37B02}" srcOrd="3" destOrd="0" parTransId="{B34AC768-CF5F-4E1D-A32B-B24005A954AA}" sibTransId="{909939C6-1B6A-482D-A594-C784DA978DCE}"/>
    <dgm:cxn modelId="{1E8CCE2A-DC97-468C-BD3D-57F2FA2968B0}" srcId="{D9F0CBDE-CD87-4C4A-ADBE-ACCD3233FF9B}" destId="{6FE7FD9B-C5BB-4C5D-8B81-4C10AC0ABB30}" srcOrd="0" destOrd="0" parTransId="{FA9B6937-576A-4082-952B-3B85FF6C669A}" sibTransId="{519B0DD7-8E86-42DC-A668-7A2EE69FAD4C}"/>
    <dgm:cxn modelId="{323FA299-929D-4FBA-8506-6F487B818591}" srcId="{D9F0CBDE-CD87-4C4A-ADBE-ACCD3233FF9B}" destId="{545680D8-CC72-43BE-867B-683F1D594CDC}" srcOrd="1" destOrd="0" parTransId="{CC94EAFD-A667-4090-B7A8-75C0904DB29A}" sibTransId="{3BFDA78B-0FA4-4DD9-B9CB-EE42E08D8D8B}"/>
    <dgm:cxn modelId="{12611C4A-F210-4B4A-B58D-D4BC139E417A}" type="presOf" srcId="{519B0DD7-8E86-42DC-A668-7A2EE69FAD4C}" destId="{73BE3F98-9A26-4935-A22B-B9F203566C97}" srcOrd="0" destOrd="0" presId="urn:microsoft.com/office/officeart/2008/layout/AscendingPictureAccentProcess"/>
    <dgm:cxn modelId="{5E76092B-5FCA-4F22-BA55-643E63922173}" srcId="{D9F0CBDE-CD87-4C4A-ADBE-ACCD3233FF9B}" destId="{93B22052-7D64-404D-9298-6A70041596BD}" srcOrd="2" destOrd="0" parTransId="{048706A4-5E2A-4007-A6EC-06635644656B}" sibTransId="{43D791BB-E9B6-418B-BB4F-D3BBDF405E15}"/>
    <dgm:cxn modelId="{7EC72669-C8EF-4056-BFCC-943ACD01FC58}" type="presOf" srcId="{6FE7FD9B-C5BB-4C5D-8B81-4C10AC0ABB30}" destId="{D540E7B0-3C50-4F7C-B933-3A80EB86F1C7}" srcOrd="0" destOrd="0" presId="urn:microsoft.com/office/officeart/2008/layout/AscendingPictureAccentProcess"/>
    <dgm:cxn modelId="{60ECE4AD-AF20-4983-A4C1-BA5A1E66A562}" type="presOf" srcId="{3BFDA78B-0FA4-4DD9-B9CB-EE42E08D8D8B}" destId="{0FE59940-D244-4CD6-903E-FE3EEFD85DFA}" srcOrd="0" destOrd="0" presId="urn:microsoft.com/office/officeart/2008/layout/AscendingPictureAccentProcess"/>
    <dgm:cxn modelId="{7146E164-A32E-40C3-8A8F-60701E9469FD}" type="presOf" srcId="{17C4B40D-1E7A-4227-BC6B-4EA74F33A029}" destId="{994210E2-25CA-4CE5-A1F1-0C321FB4B58F}" srcOrd="0" destOrd="0" presId="urn:microsoft.com/office/officeart/2008/layout/AscendingPictureAccentProcess"/>
    <dgm:cxn modelId="{9C921E0C-1CCC-49E0-BB22-78D9AD09E3D2}" type="presOf" srcId="{92B8A0F8-9A9B-47B5-A7FF-87D62DE01F12}" destId="{49A067B6-5E64-43CF-9279-A54E852BCB36}" srcOrd="0" destOrd="0" presId="urn:microsoft.com/office/officeart/2008/layout/AscendingPictureAccentProcess"/>
    <dgm:cxn modelId="{0A5DF523-19CF-4E72-878B-87B28060660D}" type="presOf" srcId="{545680D8-CC72-43BE-867B-683F1D594CDC}" destId="{AAB46B40-2333-4840-AD5A-0AA462BFB5F5}" srcOrd="0" destOrd="0" presId="urn:microsoft.com/office/officeart/2008/layout/AscendingPictureAccentProcess"/>
    <dgm:cxn modelId="{2D8E74EA-ACEA-4157-B276-3A700569C454}" type="presParOf" srcId="{E6328AFC-AF95-4AB2-9DF3-F13777E2BBD8}" destId="{D92F5D3D-C137-4A48-99C2-83E2DC280454}" srcOrd="0" destOrd="0" presId="urn:microsoft.com/office/officeart/2008/layout/AscendingPictureAccentProcess"/>
    <dgm:cxn modelId="{DCF2727F-ECBC-48A1-90E7-19552E5269C4}" type="presParOf" srcId="{E6328AFC-AF95-4AB2-9DF3-F13777E2BBD8}" destId="{DC3F16E0-3025-445D-A2D1-34FB8083BD46}" srcOrd="1" destOrd="0" presId="urn:microsoft.com/office/officeart/2008/layout/AscendingPictureAccentProcess"/>
    <dgm:cxn modelId="{0BEE8737-F3EC-4D7F-902D-F1E6120F81ED}" type="presParOf" srcId="{E6328AFC-AF95-4AB2-9DF3-F13777E2BBD8}" destId="{26357AA2-6FCF-4217-B1EF-FCDA32391B54}" srcOrd="2" destOrd="0" presId="urn:microsoft.com/office/officeart/2008/layout/AscendingPictureAccentProcess"/>
    <dgm:cxn modelId="{729EFB89-6985-4351-87EE-6790CF19BE82}" type="presParOf" srcId="{E6328AFC-AF95-4AB2-9DF3-F13777E2BBD8}" destId="{96E1D0D2-46E0-4629-9118-75D195AC777F}" srcOrd="3" destOrd="0" presId="urn:microsoft.com/office/officeart/2008/layout/AscendingPictureAccentProcess"/>
    <dgm:cxn modelId="{C67884C9-8F83-47D7-9731-278BE6C6C7A2}" type="presParOf" srcId="{E6328AFC-AF95-4AB2-9DF3-F13777E2BBD8}" destId="{03C83F50-B40E-418D-A782-EF428E6026FA}" srcOrd="4" destOrd="0" presId="urn:microsoft.com/office/officeart/2008/layout/AscendingPictureAccentProcess"/>
    <dgm:cxn modelId="{50000B99-5B11-46DC-914F-2D79CBF2DCAE}" type="presParOf" srcId="{E6328AFC-AF95-4AB2-9DF3-F13777E2BBD8}" destId="{3B9F8EC8-E89C-4071-A938-D33066EE3FEA}" srcOrd="5" destOrd="0" presId="urn:microsoft.com/office/officeart/2008/layout/AscendingPictureAccentProcess"/>
    <dgm:cxn modelId="{E1556D72-B613-46B2-AB7D-F249F5FE623E}" type="presParOf" srcId="{E6328AFC-AF95-4AB2-9DF3-F13777E2BBD8}" destId="{512C8857-D2E7-41F5-9BDB-B265CE642C66}" srcOrd="6" destOrd="0" presId="urn:microsoft.com/office/officeart/2008/layout/AscendingPictureAccentProcess"/>
    <dgm:cxn modelId="{68999DE0-5F2F-40D2-A706-4D7030129746}" type="presParOf" srcId="{E6328AFC-AF95-4AB2-9DF3-F13777E2BBD8}" destId="{05E88AC1-B35F-4BC2-AD94-5F25484AECB7}" srcOrd="7" destOrd="0" presId="urn:microsoft.com/office/officeart/2008/layout/AscendingPictureAccentProcess"/>
    <dgm:cxn modelId="{B0AC84B5-F4BF-43FE-85E2-068CD615ECE7}" type="presParOf" srcId="{E6328AFC-AF95-4AB2-9DF3-F13777E2BBD8}" destId="{8F2F4B11-6849-4374-B69A-12CAE6D219EF}" srcOrd="8" destOrd="0" presId="urn:microsoft.com/office/officeart/2008/layout/AscendingPictureAccentProcess"/>
    <dgm:cxn modelId="{ECD68752-C099-4607-ABBA-6ED9AEAB36A6}" type="presParOf" srcId="{E6328AFC-AF95-4AB2-9DF3-F13777E2BBD8}" destId="{C851501C-772C-4D3C-B32C-2EC45D608EFB}" srcOrd="9" destOrd="0" presId="urn:microsoft.com/office/officeart/2008/layout/AscendingPictureAccentProcess"/>
    <dgm:cxn modelId="{BDE1AA9E-7D99-43CF-8FE0-0543AD26952E}" type="presParOf" srcId="{E6328AFC-AF95-4AB2-9DF3-F13777E2BBD8}" destId="{E04AF0A9-5CA6-4960-B7F5-9A5A5F06ADD7}" srcOrd="10" destOrd="0" presId="urn:microsoft.com/office/officeart/2008/layout/AscendingPictureAccentProcess"/>
    <dgm:cxn modelId="{479D8416-894F-47B9-AB74-67DD263EA952}" type="presParOf" srcId="{E6328AFC-AF95-4AB2-9DF3-F13777E2BBD8}" destId="{75A17C95-062A-4F63-AAC2-4CA783454EDA}" srcOrd="11" destOrd="0" presId="urn:microsoft.com/office/officeart/2008/layout/AscendingPictureAccentProcess"/>
    <dgm:cxn modelId="{6E2C7462-03B9-4A66-9814-DC40E0A7D79B}" type="presParOf" srcId="{E6328AFC-AF95-4AB2-9DF3-F13777E2BBD8}" destId="{93BC9974-2FC9-42BB-A669-DE9109452B46}" srcOrd="12" destOrd="0" presId="urn:microsoft.com/office/officeart/2008/layout/AscendingPictureAccentProcess"/>
    <dgm:cxn modelId="{8D35A045-DB56-4459-8CEC-25C816AE58FA}" type="presParOf" srcId="{E6328AFC-AF95-4AB2-9DF3-F13777E2BBD8}" destId="{A5AB87EE-B9FC-440E-A23B-B796355B20B2}" srcOrd="13" destOrd="0" presId="urn:microsoft.com/office/officeart/2008/layout/AscendingPictureAccentProcess"/>
    <dgm:cxn modelId="{2444CF9C-A3E5-4B2E-9EA5-8C1F5FD70985}" type="presParOf" srcId="{E6328AFC-AF95-4AB2-9DF3-F13777E2BBD8}" destId="{5D39112D-BC26-4E41-8A52-8CC3D5997D53}" srcOrd="14" destOrd="0" presId="urn:microsoft.com/office/officeart/2008/layout/AscendingPictureAccentProcess"/>
    <dgm:cxn modelId="{B527A983-4A36-425F-B16C-745F668349BB}" type="presParOf" srcId="{E6328AFC-AF95-4AB2-9DF3-F13777E2BBD8}" destId="{98C54A14-E219-4610-AA17-1146A8D8527D}" srcOrd="15" destOrd="0" presId="urn:microsoft.com/office/officeart/2008/layout/AscendingPictureAccentProcess"/>
    <dgm:cxn modelId="{AA8D9565-35F5-4376-A960-7265812756C1}" type="presParOf" srcId="{E6328AFC-AF95-4AB2-9DF3-F13777E2BBD8}" destId="{5128C706-F37A-4318-93B0-B5F4CC209AC5}" srcOrd="16" destOrd="0" presId="urn:microsoft.com/office/officeart/2008/layout/AscendingPictureAccentProcess"/>
    <dgm:cxn modelId="{0A915471-0897-4905-893A-02014E5AA4E0}" type="presParOf" srcId="{E6328AFC-AF95-4AB2-9DF3-F13777E2BBD8}" destId="{D540E7B0-3C50-4F7C-B933-3A80EB86F1C7}" srcOrd="17" destOrd="0" presId="urn:microsoft.com/office/officeart/2008/layout/AscendingPictureAccentProcess"/>
    <dgm:cxn modelId="{093892AC-AD84-4186-AB84-0F22E37DD8E9}" type="presParOf" srcId="{E6328AFC-AF95-4AB2-9DF3-F13777E2BBD8}" destId="{50F0DA41-FDAA-4178-A933-40C7A52E6DA8}" srcOrd="18" destOrd="0" presId="urn:microsoft.com/office/officeart/2008/layout/AscendingPictureAccentProcess"/>
    <dgm:cxn modelId="{6CF9BF53-B0C2-4BBA-8B4E-50BB75BC8C7D}" type="presParOf" srcId="{50F0DA41-FDAA-4178-A933-40C7A52E6DA8}" destId="{73BE3F98-9A26-4935-A22B-B9F203566C97}" srcOrd="0" destOrd="0" presId="urn:microsoft.com/office/officeart/2008/layout/AscendingPictureAccentProcess"/>
    <dgm:cxn modelId="{29A87DC0-B786-4139-A0D9-F3C3876933CE}" type="presParOf" srcId="{E6328AFC-AF95-4AB2-9DF3-F13777E2BBD8}" destId="{AAB46B40-2333-4840-AD5A-0AA462BFB5F5}" srcOrd="19" destOrd="0" presId="urn:microsoft.com/office/officeart/2008/layout/AscendingPictureAccentProcess"/>
    <dgm:cxn modelId="{AE57B956-7573-4297-9135-A8F9F52C3375}" type="presParOf" srcId="{E6328AFC-AF95-4AB2-9DF3-F13777E2BBD8}" destId="{B2EC8AE6-A1E4-48E3-A403-9DE774D158D2}" srcOrd="20" destOrd="0" presId="urn:microsoft.com/office/officeart/2008/layout/AscendingPictureAccentProcess"/>
    <dgm:cxn modelId="{BAF1CAAB-0A21-4345-9C61-FC6E6C8E7439}" type="presParOf" srcId="{B2EC8AE6-A1E4-48E3-A403-9DE774D158D2}" destId="{0FE59940-D244-4CD6-903E-FE3EEFD85DFA}" srcOrd="0" destOrd="0" presId="urn:microsoft.com/office/officeart/2008/layout/AscendingPictureAccentProcess"/>
    <dgm:cxn modelId="{6F6C5944-0F78-49A9-A660-F09F236542F9}" type="presParOf" srcId="{E6328AFC-AF95-4AB2-9DF3-F13777E2BBD8}" destId="{C9109849-B1EE-44F1-B4C1-F8F76971E49B}" srcOrd="21" destOrd="0" presId="urn:microsoft.com/office/officeart/2008/layout/AscendingPictureAccentProcess"/>
    <dgm:cxn modelId="{984BF5FD-B580-4E50-982F-12E29AACE840}" type="presParOf" srcId="{E6328AFC-AF95-4AB2-9DF3-F13777E2BBD8}" destId="{EDDA551C-ED46-437D-97C5-55983A9BC328}" srcOrd="22" destOrd="0" presId="urn:microsoft.com/office/officeart/2008/layout/AscendingPictureAccentProcess"/>
    <dgm:cxn modelId="{A593DF3D-1D84-45CA-8E54-E03A5F28FA12}" type="presParOf" srcId="{EDDA551C-ED46-437D-97C5-55983A9BC328}" destId="{0CC39AD8-F4B7-47EB-BE26-1746DBC66816}" srcOrd="0" destOrd="0" presId="urn:microsoft.com/office/officeart/2008/layout/AscendingPictureAccentProcess"/>
    <dgm:cxn modelId="{9CC13EEF-D1AA-412B-A3ED-A11F6EDF6CCA}" type="presParOf" srcId="{E6328AFC-AF95-4AB2-9DF3-F13777E2BBD8}" destId="{C487B77E-DC4F-4E0F-A2F2-7260F613F95F}" srcOrd="23" destOrd="0" presId="urn:microsoft.com/office/officeart/2008/layout/AscendingPictureAccentProcess"/>
    <dgm:cxn modelId="{80495211-D81F-4814-93AC-D5AAB859E12C}" type="presParOf" srcId="{E6328AFC-AF95-4AB2-9DF3-F13777E2BBD8}" destId="{8F7D6845-964B-4440-BA36-C2D253A842A2}" srcOrd="24" destOrd="0" presId="urn:microsoft.com/office/officeart/2008/layout/AscendingPictureAccentProcess"/>
    <dgm:cxn modelId="{C9FF44B6-2B3C-4C51-881E-8D374924683B}" type="presParOf" srcId="{8F7D6845-964B-4440-BA36-C2D253A842A2}" destId="{9D3504D0-C4C7-467D-97D3-80704BD6A910}" srcOrd="0" destOrd="0" presId="urn:microsoft.com/office/officeart/2008/layout/AscendingPictureAccentProcess"/>
    <dgm:cxn modelId="{B4F8D9C6-B6FC-42B8-973C-BC1FA2B8A521}" type="presParOf" srcId="{E6328AFC-AF95-4AB2-9DF3-F13777E2BBD8}" destId="{346D83BD-7216-45E5-989A-57DC097B2DDD}" srcOrd="25" destOrd="0" presId="urn:microsoft.com/office/officeart/2008/layout/AscendingPictureAccentProcess"/>
    <dgm:cxn modelId="{C86A73EE-3573-44D1-A7C3-419ECB7DCFCA}" type="presParOf" srcId="{E6328AFC-AF95-4AB2-9DF3-F13777E2BBD8}" destId="{8DE87F67-A0AB-429C-8325-AD205E2427F3}" srcOrd="26" destOrd="0" presId="urn:microsoft.com/office/officeart/2008/layout/AscendingPictureAccentProcess"/>
    <dgm:cxn modelId="{6F48B1E5-05E5-41DB-A647-49E2417D6CEB}" type="presParOf" srcId="{8DE87F67-A0AB-429C-8325-AD205E2427F3}" destId="{A84FBB5E-45FB-4EB9-B75C-0E7AD5A77F65}" srcOrd="0" destOrd="0" presId="urn:microsoft.com/office/officeart/2008/layout/AscendingPictureAccentProcess"/>
    <dgm:cxn modelId="{B1989E92-8C62-43DE-A183-EA19B86F410E}" type="presParOf" srcId="{E6328AFC-AF95-4AB2-9DF3-F13777E2BBD8}" destId="{994210E2-25CA-4CE5-A1F1-0C321FB4B58F}" srcOrd="27" destOrd="0" presId="urn:microsoft.com/office/officeart/2008/layout/AscendingPictureAccentProcess"/>
    <dgm:cxn modelId="{5A6A7D9F-3B4D-4E11-A050-6BF1D604DD3A}" type="presParOf" srcId="{E6328AFC-AF95-4AB2-9DF3-F13777E2BBD8}" destId="{655B2D98-F7D1-4D2F-8C33-3CC0284C46D0}" srcOrd="28" destOrd="0" presId="urn:microsoft.com/office/officeart/2008/layout/AscendingPictureAccentProcess"/>
    <dgm:cxn modelId="{B2D79AD6-5F3A-4368-B579-3AE4AAEA2DB9}" type="presParOf" srcId="{655B2D98-F7D1-4D2F-8C33-3CC0284C46D0}" destId="{49A067B6-5E64-43CF-9279-A54E852BCB36}" srcOrd="0" destOrd="0" presId="urn:microsoft.com/office/officeart/2008/layout/AscendingPictureAccentProcess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18A6FEA-8CD5-44AE-98CD-68B0DB75D332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521581F-03AF-44F3-8AE5-1E601D2E91E0}">
      <dgm:prSet phldrT="[Text]" custT="1">
        <dgm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AUTHOR TABLE</a:t>
          </a:r>
          <a:endParaRPr lang="en-US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BDD3775-EB70-4CD8-8AAE-9CD437056587}" type="parTrans" cxnId="{13205FE0-E787-4B62-B62C-9347128A865B}">
      <dgm:prSet/>
      <dgm:spPr/>
      <dgm:t>
        <a:bodyPr/>
        <a:lstStyle/>
        <a:p>
          <a:endParaRPr lang="en-US"/>
        </a:p>
      </dgm:t>
    </dgm:pt>
    <dgm:pt modelId="{B80342C8-F598-417E-9E0E-42718F2E225A}" type="sibTrans" cxnId="{13205FE0-E787-4B62-B62C-9347128A865B}">
      <dgm:prSet/>
      <dgm:spPr/>
      <dgm:t>
        <a:bodyPr/>
        <a:lstStyle/>
        <a:p>
          <a:endParaRPr lang="en-US"/>
        </a:p>
      </dgm:t>
    </dgm:pt>
    <dgm:pt modelId="{E1C44383-4C7F-461F-AD4A-1614452E6F1A}">
      <dgm:prSet phldrT="[Text]" custT="1"/>
      <dgm:spPr/>
      <dgm:t>
        <a:bodyPr/>
        <a:lstStyle/>
        <a:p>
          <a:r>
            <a:rPr lang="en-US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Trim</a:t>
          </a:r>
          <a:endParaRPr lang="en-US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4E6783-052D-40B3-B8CC-F41515473635}" type="parTrans" cxnId="{8B01483E-3AE9-490F-A1AA-DFBF074BD453}">
      <dgm:prSet/>
      <dgm:spPr/>
      <dgm:t>
        <a:bodyPr/>
        <a:lstStyle/>
        <a:p>
          <a:endParaRPr lang="en-US"/>
        </a:p>
      </dgm:t>
    </dgm:pt>
    <dgm:pt modelId="{D7EB5B9C-DD66-43BF-AFA8-439B662F99C4}" type="sibTrans" cxnId="{8B01483E-3AE9-490F-A1AA-DFBF074BD453}">
      <dgm:prSet/>
      <dgm:spPr/>
      <dgm:t>
        <a:bodyPr/>
        <a:lstStyle/>
        <a:p>
          <a:endParaRPr lang="en-US"/>
        </a:p>
      </dgm:t>
    </dgm:pt>
    <dgm:pt modelId="{63BA57AE-739A-4BCE-9203-FFBDED501673}">
      <dgm:prSet phldrT="[Text]" custT="1"/>
      <dgm:spPr/>
      <dgm:t>
        <a:bodyPr/>
        <a:lstStyle/>
        <a:p>
          <a:r>
            <a:rPr lang="en-US" sz="18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Author_ID</a:t>
          </a:r>
          <a:endParaRPr lang="en-US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65EA353-2BB8-4A61-9A29-57A52032C5AF}" type="parTrans" cxnId="{6D7E1E54-7B8A-4151-84E9-DE5FA5A8D812}">
      <dgm:prSet/>
      <dgm:spPr/>
      <dgm:t>
        <a:bodyPr/>
        <a:lstStyle/>
        <a:p>
          <a:endParaRPr lang="en-US"/>
        </a:p>
      </dgm:t>
    </dgm:pt>
    <dgm:pt modelId="{FA8175B4-B1A5-4964-A892-19199A032D1B}" type="sibTrans" cxnId="{6D7E1E54-7B8A-4151-84E9-DE5FA5A8D812}">
      <dgm:prSet/>
      <dgm:spPr/>
      <dgm:t>
        <a:bodyPr/>
        <a:lstStyle/>
        <a:p>
          <a:endParaRPr lang="en-US"/>
        </a:p>
      </dgm:t>
    </dgm:pt>
    <dgm:pt modelId="{814C58FB-8467-4CEF-9CDD-1EF5121D47A7}">
      <dgm:prSet phldrT="[Text]" custT="1">
        <dgm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BOOK TABLE</a:t>
          </a:r>
          <a:endParaRPr lang="en-US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CB5EB37-8290-48C5-AA3E-C5C096AC70F5}" type="parTrans" cxnId="{31C77A1B-C2E7-45CB-BE47-82C74E75C98A}">
      <dgm:prSet/>
      <dgm:spPr/>
      <dgm:t>
        <a:bodyPr/>
        <a:lstStyle/>
        <a:p>
          <a:endParaRPr lang="en-US"/>
        </a:p>
      </dgm:t>
    </dgm:pt>
    <dgm:pt modelId="{7A5A3E27-1F73-481B-9C0C-4F7906C5D03C}" type="sibTrans" cxnId="{31C77A1B-C2E7-45CB-BE47-82C74E75C98A}">
      <dgm:prSet/>
      <dgm:spPr/>
      <dgm:t>
        <a:bodyPr/>
        <a:lstStyle/>
        <a:p>
          <a:endParaRPr lang="en-US"/>
        </a:p>
      </dgm:t>
    </dgm:pt>
    <dgm:pt modelId="{DF991BB0-23C0-4328-8F5E-E5DEE4C24EC3}">
      <dgm:prSet phldrT="[Text]" custT="1"/>
      <dgm:spPr/>
      <dgm:t>
        <a:bodyPr/>
        <a:lstStyle/>
        <a:p>
          <a:r>
            <a:rPr lang="en-US" sz="18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Book_ID</a:t>
          </a:r>
          <a:endParaRPr lang="en-US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F37D0E1-3879-4958-990F-2D47A22E00E5}" type="parTrans" cxnId="{A9B9ED70-451C-463E-97EF-C45870EBA934}">
      <dgm:prSet/>
      <dgm:spPr/>
      <dgm:t>
        <a:bodyPr/>
        <a:lstStyle/>
        <a:p>
          <a:endParaRPr lang="en-US"/>
        </a:p>
      </dgm:t>
    </dgm:pt>
    <dgm:pt modelId="{79FD35D0-675F-4A4F-8484-6BD4734AC32D}" type="sibTrans" cxnId="{A9B9ED70-451C-463E-97EF-C45870EBA934}">
      <dgm:prSet/>
      <dgm:spPr/>
      <dgm:t>
        <a:bodyPr/>
        <a:lstStyle/>
        <a:p>
          <a:endParaRPr lang="en-US"/>
        </a:p>
      </dgm:t>
    </dgm:pt>
    <dgm:pt modelId="{8B6B176E-327F-4D91-ACE8-F7C5A351A137}">
      <dgm:prSet phldrT="[Text]" custT="1"/>
      <dgm:spPr/>
      <dgm:t>
        <a:bodyPr/>
        <a:lstStyle/>
        <a:p>
          <a:r>
            <a:rPr lang="en-US" sz="18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Author_ID</a:t>
          </a:r>
          <a:endParaRPr lang="en-US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BC49BB3-1602-4C12-BE01-7F84CF1FDE59}" type="parTrans" cxnId="{E5B65BBF-009A-4FB7-BC43-547B8E5E2B00}">
      <dgm:prSet/>
      <dgm:spPr/>
      <dgm:t>
        <a:bodyPr/>
        <a:lstStyle/>
        <a:p>
          <a:endParaRPr lang="en-US"/>
        </a:p>
      </dgm:t>
    </dgm:pt>
    <dgm:pt modelId="{110F9C2F-EB34-4030-8D42-9910FB2AB99E}" type="sibTrans" cxnId="{E5B65BBF-009A-4FB7-BC43-547B8E5E2B00}">
      <dgm:prSet/>
      <dgm:spPr/>
      <dgm:t>
        <a:bodyPr/>
        <a:lstStyle/>
        <a:p>
          <a:endParaRPr lang="en-US"/>
        </a:p>
      </dgm:t>
    </dgm:pt>
    <dgm:pt modelId="{FF8630A7-C25A-420E-B9BE-64FD02EE64EB}">
      <dgm:prSet phldrT="[Text]" custT="1"/>
      <dgm:spPr/>
      <dgm:t>
        <a:bodyPr/>
        <a:lstStyle/>
        <a:p>
          <a:r>
            <a:rPr lang="en-US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Gender</a:t>
          </a:r>
          <a:endParaRPr lang="en-US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E43FAE1-3328-46D1-89E3-BAC68172A76D}" type="parTrans" cxnId="{7A961F6E-CCFD-469B-9822-11BCA55E7CA2}">
      <dgm:prSet/>
      <dgm:spPr/>
      <dgm:t>
        <a:bodyPr/>
        <a:lstStyle/>
        <a:p>
          <a:endParaRPr lang="en-US"/>
        </a:p>
      </dgm:t>
    </dgm:pt>
    <dgm:pt modelId="{5B674311-4315-4237-98F2-650D47123CC1}" type="sibTrans" cxnId="{7A961F6E-CCFD-469B-9822-11BCA55E7CA2}">
      <dgm:prSet/>
      <dgm:spPr/>
      <dgm:t>
        <a:bodyPr/>
        <a:lstStyle/>
        <a:p>
          <a:endParaRPr lang="en-US"/>
        </a:p>
      </dgm:t>
    </dgm:pt>
    <dgm:pt modelId="{0CC84728-BA83-41E2-99B4-7EADFEC696A6}">
      <dgm:prSet phldrT="[Text]" custT="1"/>
      <dgm:spPr/>
      <dgm:t>
        <a:bodyPr/>
        <a:lstStyle/>
        <a:p>
          <a:r>
            <a:rPr lang="en-US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ISBN code</a:t>
          </a:r>
          <a:endParaRPr lang="en-US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088B417-1297-4644-B0DD-D00B02703533}" type="parTrans" cxnId="{E3DA7320-58AC-48F3-92FC-26F100B1F65C}">
      <dgm:prSet/>
      <dgm:spPr/>
      <dgm:t>
        <a:bodyPr/>
        <a:lstStyle/>
        <a:p>
          <a:endParaRPr lang="en-US"/>
        </a:p>
      </dgm:t>
    </dgm:pt>
    <dgm:pt modelId="{8679043D-1929-4C02-B662-38613871DD6F}" type="sibTrans" cxnId="{E3DA7320-58AC-48F3-92FC-26F100B1F65C}">
      <dgm:prSet/>
      <dgm:spPr/>
      <dgm:t>
        <a:bodyPr/>
        <a:lstStyle/>
        <a:p>
          <a:endParaRPr lang="en-US"/>
        </a:p>
      </dgm:t>
    </dgm:pt>
    <dgm:pt modelId="{7AB154AD-DE5C-4C1C-A070-9980C53D2E88}">
      <dgm:prSet phldrT="[Text]" custT="1"/>
      <dgm:spPr/>
      <dgm:t>
        <a:bodyPr/>
        <a:lstStyle/>
        <a:p>
          <a:r>
            <a:rPr lang="en-US" sz="18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Size,Cost</a:t>
          </a:r>
          <a:endParaRPr lang="en-US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5BA45A2-34EB-419B-BFC7-D5A66C082225}" type="parTrans" cxnId="{6ABD7148-2E77-4E0B-84A9-5DDF42D94C44}">
      <dgm:prSet/>
      <dgm:spPr/>
      <dgm:t>
        <a:bodyPr/>
        <a:lstStyle/>
        <a:p>
          <a:endParaRPr lang="en-US"/>
        </a:p>
      </dgm:t>
    </dgm:pt>
    <dgm:pt modelId="{589969E9-DA58-432C-8BD2-888321AD4D12}" type="sibTrans" cxnId="{6ABD7148-2E77-4E0B-84A9-5DDF42D94C44}">
      <dgm:prSet/>
      <dgm:spPr/>
      <dgm:t>
        <a:bodyPr/>
        <a:lstStyle/>
        <a:p>
          <a:endParaRPr lang="en-US"/>
        </a:p>
      </dgm:t>
    </dgm:pt>
    <dgm:pt modelId="{F0A317C5-3F6E-4F31-A913-8E7F9C7A71DA}">
      <dgm:prSet phldrT="[Text]" custT="1"/>
      <dgm:spPr/>
      <dgm:t>
        <a:bodyPr/>
        <a:lstStyle/>
        <a:p>
          <a:r>
            <a:rPr lang="en-US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Book Type</a:t>
          </a:r>
          <a:endParaRPr lang="en-US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BBE0495-1C92-48B7-9C90-AA18688B6D92}" type="parTrans" cxnId="{B4011957-22EA-4C96-8AE5-8BB300D6FB90}">
      <dgm:prSet/>
      <dgm:spPr/>
      <dgm:t>
        <a:bodyPr/>
        <a:lstStyle/>
        <a:p>
          <a:endParaRPr lang="en-US"/>
        </a:p>
      </dgm:t>
    </dgm:pt>
    <dgm:pt modelId="{949EB6FD-6793-456A-85E8-9473C458A359}" type="sibTrans" cxnId="{B4011957-22EA-4C96-8AE5-8BB300D6FB90}">
      <dgm:prSet/>
      <dgm:spPr/>
      <dgm:t>
        <a:bodyPr/>
        <a:lstStyle/>
        <a:p>
          <a:endParaRPr lang="en-US"/>
        </a:p>
      </dgm:t>
    </dgm:pt>
    <dgm:pt modelId="{A6F26A2E-9560-4514-AE27-61DEA505805A}" type="pres">
      <dgm:prSet presAssocID="{C18A6FEA-8CD5-44AE-98CD-68B0DB75D332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7032D712-8F3C-4A26-81DF-8F3910E3EDD7}" type="pres">
      <dgm:prSet presAssocID="{1521581F-03AF-44F3-8AE5-1E601D2E91E0}" presName="root" presStyleCnt="0"/>
      <dgm:spPr/>
    </dgm:pt>
    <dgm:pt modelId="{3CCC56AA-B3B5-495F-84D6-965DC469C096}" type="pres">
      <dgm:prSet presAssocID="{1521581F-03AF-44F3-8AE5-1E601D2E91E0}" presName="rootComposite" presStyleCnt="0"/>
      <dgm:spPr/>
    </dgm:pt>
    <dgm:pt modelId="{E521466E-E8FC-4355-A6B3-314CFE1D6A20}" type="pres">
      <dgm:prSet presAssocID="{1521581F-03AF-44F3-8AE5-1E601D2E91E0}" presName="rootText" presStyleLbl="node1" presStyleIdx="0" presStyleCnt="2" custScaleX="145676" custScaleY="72181"/>
      <dgm:spPr/>
      <dgm:t>
        <a:bodyPr/>
        <a:lstStyle/>
        <a:p>
          <a:endParaRPr lang="en-US"/>
        </a:p>
      </dgm:t>
    </dgm:pt>
    <dgm:pt modelId="{833D8452-17FA-47CF-88E2-06B9170D0EC2}" type="pres">
      <dgm:prSet presAssocID="{1521581F-03AF-44F3-8AE5-1E601D2E91E0}" presName="rootConnector" presStyleLbl="node1" presStyleIdx="0" presStyleCnt="2"/>
      <dgm:spPr/>
      <dgm:t>
        <a:bodyPr/>
        <a:lstStyle/>
        <a:p>
          <a:endParaRPr lang="en-US"/>
        </a:p>
      </dgm:t>
    </dgm:pt>
    <dgm:pt modelId="{9CB08D79-DE1F-456D-9A80-EFBA0BDEE09A}" type="pres">
      <dgm:prSet presAssocID="{1521581F-03AF-44F3-8AE5-1E601D2E91E0}" presName="childShape" presStyleCnt="0"/>
      <dgm:spPr/>
    </dgm:pt>
    <dgm:pt modelId="{4FCAE026-4F76-4A17-8999-8B43C2ACD34F}" type="pres">
      <dgm:prSet presAssocID="{D04E6783-052D-40B3-B8CC-F41515473635}" presName="Name13" presStyleLbl="parChTrans1D2" presStyleIdx="0" presStyleCnt="8"/>
      <dgm:spPr/>
      <dgm:t>
        <a:bodyPr/>
        <a:lstStyle/>
        <a:p>
          <a:endParaRPr lang="en-US"/>
        </a:p>
      </dgm:t>
    </dgm:pt>
    <dgm:pt modelId="{F0A39CCE-5EC6-4878-8D4F-6F99BBCE8B51}" type="pres">
      <dgm:prSet presAssocID="{E1C44383-4C7F-461F-AD4A-1614452E6F1A}" presName="childText" presStyleLbl="bgAcc1" presStyleIdx="0" presStyleCnt="8" custScaleY="6278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6D5427-F06B-499E-A128-27FC7C8FCDFE}" type="pres">
      <dgm:prSet presAssocID="{465EA353-2BB8-4A61-9A29-57A52032C5AF}" presName="Name13" presStyleLbl="parChTrans1D2" presStyleIdx="1" presStyleCnt="8"/>
      <dgm:spPr/>
      <dgm:t>
        <a:bodyPr/>
        <a:lstStyle/>
        <a:p>
          <a:endParaRPr lang="en-US"/>
        </a:p>
      </dgm:t>
    </dgm:pt>
    <dgm:pt modelId="{84107ABD-2847-4277-82D8-106CBD9ACDEE}" type="pres">
      <dgm:prSet presAssocID="{63BA57AE-739A-4BCE-9203-FFBDED501673}" presName="childText" presStyleLbl="bgAcc1" presStyleIdx="1" presStyleCnt="8" custScaleY="5743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517AF4-BE52-405B-9251-C3670057D519}" type="pres">
      <dgm:prSet presAssocID="{8E43FAE1-3328-46D1-89E3-BAC68172A76D}" presName="Name13" presStyleLbl="parChTrans1D2" presStyleIdx="2" presStyleCnt="8"/>
      <dgm:spPr/>
      <dgm:t>
        <a:bodyPr/>
        <a:lstStyle/>
        <a:p>
          <a:endParaRPr lang="en-US"/>
        </a:p>
      </dgm:t>
    </dgm:pt>
    <dgm:pt modelId="{C1571D83-4089-4166-B8CF-C506B3BE54EF}" type="pres">
      <dgm:prSet presAssocID="{FF8630A7-C25A-420E-B9BE-64FD02EE64EB}" presName="childText" presStyleLbl="bgAcc1" presStyleIdx="2" presStyleCnt="8" custScaleY="5743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5311F1-ACE7-4A47-AC4E-26617F4B0DEA}" type="pres">
      <dgm:prSet presAssocID="{814C58FB-8467-4CEF-9CDD-1EF5121D47A7}" presName="root" presStyleCnt="0"/>
      <dgm:spPr/>
    </dgm:pt>
    <dgm:pt modelId="{0A1EE066-D293-47FC-9A83-0F579598DBEB}" type="pres">
      <dgm:prSet presAssocID="{814C58FB-8467-4CEF-9CDD-1EF5121D47A7}" presName="rootComposite" presStyleCnt="0"/>
      <dgm:spPr/>
    </dgm:pt>
    <dgm:pt modelId="{ED0C7A0A-7928-44EA-8544-5705DA7D6A16}" type="pres">
      <dgm:prSet presAssocID="{814C58FB-8467-4CEF-9CDD-1EF5121D47A7}" presName="rootText" presStyleLbl="node1" presStyleIdx="1" presStyleCnt="2" custScaleX="142293" custScaleY="76114"/>
      <dgm:spPr/>
      <dgm:t>
        <a:bodyPr/>
        <a:lstStyle/>
        <a:p>
          <a:endParaRPr lang="en-US"/>
        </a:p>
      </dgm:t>
    </dgm:pt>
    <dgm:pt modelId="{5705E36E-1B80-49A0-B1BB-EC0DA4E51ED1}" type="pres">
      <dgm:prSet presAssocID="{814C58FB-8467-4CEF-9CDD-1EF5121D47A7}" presName="rootConnector" presStyleLbl="node1" presStyleIdx="1" presStyleCnt="2"/>
      <dgm:spPr/>
      <dgm:t>
        <a:bodyPr/>
        <a:lstStyle/>
        <a:p>
          <a:endParaRPr lang="en-US"/>
        </a:p>
      </dgm:t>
    </dgm:pt>
    <dgm:pt modelId="{C34834F2-9E6C-4C8F-9D60-0C40D7BFD31A}" type="pres">
      <dgm:prSet presAssocID="{814C58FB-8467-4CEF-9CDD-1EF5121D47A7}" presName="childShape" presStyleCnt="0"/>
      <dgm:spPr/>
    </dgm:pt>
    <dgm:pt modelId="{95249340-C679-400E-9A0E-5BF4E0E6B0CB}" type="pres">
      <dgm:prSet presAssocID="{0F37D0E1-3879-4958-990F-2D47A22E00E5}" presName="Name13" presStyleLbl="parChTrans1D2" presStyleIdx="3" presStyleCnt="8"/>
      <dgm:spPr/>
      <dgm:t>
        <a:bodyPr/>
        <a:lstStyle/>
        <a:p>
          <a:endParaRPr lang="en-US"/>
        </a:p>
      </dgm:t>
    </dgm:pt>
    <dgm:pt modelId="{2315ADE1-C2FE-48B7-A96C-53D7D442D4D3}" type="pres">
      <dgm:prSet presAssocID="{DF991BB0-23C0-4328-8F5E-E5DEE4C24EC3}" presName="childText" presStyleLbl="bgAcc1" presStyleIdx="3" presStyleCnt="8" custScaleY="59312" custLinFactNeighborY="876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BA8A19-FDA6-4A95-9CD1-B3AD4EE65F4A}" type="pres">
      <dgm:prSet presAssocID="{FBC49BB3-1602-4C12-BE01-7F84CF1FDE59}" presName="Name13" presStyleLbl="parChTrans1D2" presStyleIdx="4" presStyleCnt="8"/>
      <dgm:spPr/>
      <dgm:t>
        <a:bodyPr/>
        <a:lstStyle/>
        <a:p>
          <a:endParaRPr lang="en-US"/>
        </a:p>
      </dgm:t>
    </dgm:pt>
    <dgm:pt modelId="{68AB05D6-1121-468B-B7A7-44BC9F0B3992}" type="pres">
      <dgm:prSet presAssocID="{8B6B176E-327F-4D91-ACE8-F7C5A351A137}" presName="childText" presStyleLbl="bgAcc1" presStyleIdx="4" presStyleCnt="8" custScaleY="54201" custLinFactNeighborY="876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6D518C0-0015-4FC1-9018-E3A92032C1EA}" type="pres">
      <dgm:prSet presAssocID="{3088B417-1297-4644-B0DD-D00B02703533}" presName="Name13" presStyleLbl="parChTrans1D2" presStyleIdx="5" presStyleCnt="8"/>
      <dgm:spPr/>
      <dgm:t>
        <a:bodyPr/>
        <a:lstStyle/>
        <a:p>
          <a:endParaRPr lang="en-US"/>
        </a:p>
      </dgm:t>
    </dgm:pt>
    <dgm:pt modelId="{C544DF30-2861-4821-B175-4B8293ADD2A2}" type="pres">
      <dgm:prSet presAssocID="{0CC84728-BA83-41E2-99B4-7EADFEC696A6}" presName="childText" presStyleLbl="bgAcc1" presStyleIdx="5" presStyleCnt="8" custScaleY="54201" custLinFactNeighborY="876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F395113-794C-4269-8E23-D035CC973168}" type="pres">
      <dgm:prSet presAssocID="{95BA45A2-34EB-419B-BFC7-D5A66C082225}" presName="Name13" presStyleLbl="parChTrans1D2" presStyleIdx="6" presStyleCnt="8"/>
      <dgm:spPr/>
      <dgm:t>
        <a:bodyPr/>
        <a:lstStyle/>
        <a:p>
          <a:endParaRPr lang="en-US"/>
        </a:p>
      </dgm:t>
    </dgm:pt>
    <dgm:pt modelId="{FBC71D3C-0AFD-4624-B8E3-BD66E464290E}" type="pres">
      <dgm:prSet presAssocID="{7AB154AD-DE5C-4C1C-A070-9980C53D2E88}" presName="childText" presStyleLbl="bgAcc1" presStyleIdx="6" presStyleCnt="8" custScaleY="5420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9DF8A7D-E97F-4E9D-80EB-F874F91F26FF}" type="pres">
      <dgm:prSet presAssocID="{3BBE0495-1C92-48B7-9C90-AA18688B6D92}" presName="Name13" presStyleLbl="parChTrans1D2" presStyleIdx="7" presStyleCnt="8"/>
      <dgm:spPr/>
      <dgm:t>
        <a:bodyPr/>
        <a:lstStyle/>
        <a:p>
          <a:endParaRPr lang="en-US"/>
        </a:p>
      </dgm:t>
    </dgm:pt>
    <dgm:pt modelId="{2CDDDF72-0EB9-4060-AC0B-B8FB75DB59AB}" type="pres">
      <dgm:prSet presAssocID="{F0A317C5-3F6E-4F31-A913-8E7F9C7A71DA}" presName="childText" presStyleLbl="bgAcc1" presStyleIdx="7" presStyleCnt="8" custScaleY="5420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1EE5431-78F3-41AB-AAFE-EEE9321DF748}" type="presOf" srcId="{814C58FB-8467-4CEF-9CDD-1EF5121D47A7}" destId="{5705E36E-1B80-49A0-B1BB-EC0DA4E51ED1}" srcOrd="1" destOrd="0" presId="urn:microsoft.com/office/officeart/2005/8/layout/hierarchy3"/>
    <dgm:cxn modelId="{60A6068A-5F38-41FA-8487-9D8D2EB7A0AC}" type="presOf" srcId="{7AB154AD-DE5C-4C1C-A070-9980C53D2E88}" destId="{FBC71D3C-0AFD-4624-B8E3-BD66E464290E}" srcOrd="0" destOrd="0" presId="urn:microsoft.com/office/officeart/2005/8/layout/hierarchy3"/>
    <dgm:cxn modelId="{CDC3CCC5-13CA-4E01-AD7E-07B57545A587}" type="presOf" srcId="{8B6B176E-327F-4D91-ACE8-F7C5A351A137}" destId="{68AB05D6-1121-468B-B7A7-44BC9F0B3992}" srcOrd="0" destOrd="0" presId="urn:microsoft.com/office/officeart/2005/8/layout/hierarchy3"/>
    <dgm:cxn modelId="{CDEBDBD5-790F-4B24-97BC-9FCA562F25A2}" type="presOf" srcId="{E1C44383-4C7F-461F-AD4A-1614452E6F1A}" destId="{F0A39CCE-5EC6-4878-8D4F-6F99BBCE8B51}" srcOrd="0" destOrd="0" presId="urn:microsoft.com/office/officeart/2005/8/layout/hierarchy3"/>
    <dgm:cxn modelId="{6ABD7148-2E77-4E0B-84A9-5DDF42D94C44}" srcId="{814C58FB-8467-4CEF-9CDD-1EF5121D47A7}" destId="{7AB154AD-DE5C-4C1C-A070-9980C53D2E88}" srcOrd="3" destOrd="0" parTransId="{95BA45A2-34EB-419B-BFC7-D5A66C082225}" sibTransId="{589969E9-DA58-432C-8BD2-888321AD4D12}"/>
    <dgm:cxn modelId="{8B01483E-3AE9-490F-A1AA-DFBF074BD453}" srcId="{1521581F-03AF-44F3-8AE5-1E601D2E91E0}" destId="{E1C44383-4C7F-461F-AD4A-1614452E6F1A}" srcOrd="0" destOrd="0" parTransId="{D04E6783-052D-40B3-B8CC-F41515473635}" sibTransId="{D7EB5B9C-DD66-43BF-AFA8-439B662F99C4}"/>
    <dgm:cxn modelId="{F298945E-5C2B-4A83-BF38-EC401AD99128}" type="presOf" srcId="{8E43FAE1-3328-46D1-89E3-BAC68172A76D}" destId="{8F517AF4-BE52-405B-9251-C3670057D519}" srcOrd="0" destOrd="0" presId="urn:microsoft.com/office/officeart/2005/8/layout/hierarchy3"/>
    <dgm:cxn modelId="{A9FCF312-4C93-4D1C-9C05-CE7CC5C4C606}" type="presOf" srcId="{814C58FB-8467-4CEF-9CDD-1EF5121D47A7}" destId="{ED0C7A0A-7928-44EA-8544-5705DA7D6A16}" srcOrd="0" destOrd="0" presId="urn:microsoft.com/office/officeart/2005/8/layout/hierarchy3"/>
    <dgm:cxn modelId="{92FA4F23-D3B5-48CF-886B-F2676C8D66C6}" type="presOf" srcId="{63BA57AE-739A-4BCE-9203-FFBDED501673}" destId="{84107ABD-2847-4277-82D8-106CBD9ACDEE}" srcOrd="0" destOrd="0" presId="urn:microsoft.com/office/officeart/2005/8/layout/hierarchy3"/>
    <dgm:cxn modelId="{F2508B89-CE49-4F78-BEBF-C0A831A7CF20}" type="presOf" srcId="{FBC49BB3-1602-4C12-BE01-7F84CF1FDE59}" destId="{41BA8A19-FDA6-4A95-9CD1-B3AD4EE65F4A}" srcOrd="0" destOrd="0" presId="urn:microsoft.com/office/officeart/2005/8/layout/hierarchy3"/>
    <dgm:cxn modelId="{85ECB65F-511A-42AA-9E1D-6273D0BB26EE}" type="presOf" srcId="{1521581F-03AF-44F3-8AE5-1E601D2E91E0}" destId="{833D8452-17FA-47CF-88E2-06B9170D0EC2}" srcOrd="1" destOrd="0" presId="urn:microsoft.com/office/officeart/2005/8/layout/hierarchy3"/>
    <dgm:cxn modelId="{8AB68202-8373-488C-B6D7-5D1486597991}" type="presOf" srcId="{F0A317C5-3F6E-4F31-A913-8E7F9C7A71DA}" destId="{2CDDDF72-0EB9-4060-AC0B-B8FB75DB59AB}" srcOrd="0" destOrd="0" presId="urn:microsoft.com/office/officeart/2005/8/layout/hierarchy3"/>
    <dgm:cxn modelId="{B2E0F08C-CF86-4BD9-8D4D-148AB171C6CF}" type="presOf" srcId="{D04E6783-052D-40B3-B8CC-F41515473635}" destId="{4FCAE026-4F76-4A17-8999-8B43C2ACD34F}" srcOrd="0" destOrd="0" presId="urn:microsoft.com/office/officeart/2005/8/layout/hierarchy3"/>
    <dgm:cxn modelId="{2432D45D-8FB2-43F9-B9D6-8694B83113E4}" type="presOf" srcId="{1521581F-03AF-44F3-8AE5-1E601D2E91E0}" destId="{E521466E-E8FC-4355-A6B3-314CFE1D6A20}" srcOrd="0" destOrd="0" presId="urn:microsoft.com/office/officeart/2005/8/layout/hierarchy3"/>
    <dgm:cxn modelId="{F6FF9EC9-85C2-46F0-B7AD-B48FB6F3A9F4}" type="presOf" srcId="{0F37D0E1-3879-4958-990F-2D47A22E00E5}" destId="{95249340-C679-400E-9A0E-5BF4E0E6B0CB}" srcOrd="0" destOrd="0" presId="urn:microsoft.com/office/officeart/2005/8/layout/hierarchy3"/>
    <dgm:cxn modelId="{F9A0151B-0D05-4582-8FBA-4C22C3FED59E}" type="presOf" srcId="{C18A6FEA-8CD5-44AE-98CD-68B0DB75D332}" destId="{A6F26A2E-9560-4514-AE27-61DEA505805A}" srcOrd="0" destOrd="0" presId="urn:microsoft.com/office/officeart/2005/8/layout/hierarchy3"/>
    <dgm:cxn modelId="{7A961F6E-CCFD-469B-9822-11BCA55E7CA2}" srcId="{1521581F-03AF-44F3-8AE5-1E601D2E91E0}" destId="{FF8630A7-C25A-420E-B9BE-64FD02EE64EB}" srcOrd="2" destOrd="0" parTransId="{8E43FAE1-3328-46D1-89E3-BAC68172A76D}" sibTransId="{5B674311-4315-4237-98F2-650D47123CC1}"/>
    <dgm:cxn modelId="{B4011957-22EA-4C96-8AE5-8BB300D6FB90}" srcId="{814C58FB-8467-4CEF-9CDD-1EF5121D47A7}" destId="{F0A317C5-3F6E-4F31-A913-8E7F9C7A71DA}" srcOrd="4" destOrd="0" parTransId="{3BBE0495-1C92-48B7-9C90-AA18688B6D92}" sibTransId="{949EB6FD-6793-456A-85E8-9473C458A359}"/>
    <dgm:cxn modelId="{987A373B-7F7B-4F79-85A7-AEA19F836C01}" type="presOf" srcId="{3BBE0495-1C92-48B7-9C90-AA18688B6D92}" destId="{99DF8A7D-E97F-4E9D-80EB-F874F91F26FF}" srcOrd="0" destOrd="0" presId="urn:microsoft.com/office/officeart/2005/8/layout/hierarchy3"/>
    <dgm:cxn modelId="{E5B65BBF-009A-4FB7-BC43-547B8E5E2B00}" srcId="{814C58FB-8467-4CEF-9CDD-1EF5121D47A7}" destId="{8B6B176E-327F-4D91-ACE8-F7C5A351A137}" srcOrd="1" destOrd="0" parTransId="{FBC49BB3-1602-4C12-BE01-7F84CF1FDE59}" sibTransId="{110F9C2F-EB34-4030-8D42-9910FB2AB99E}"/>
    <dgm:cxn modelId="{13205FE0-E787-4B62-B62C-9347128A865B}" srcId="{C18A6FEA-8CD5-44AE-98CD-68B0DB75D332}" destId="{1521581F-03AF-44F3-8AE5-1E601D2E91E0}" srcOrd="0" destOrd="0" parTransId="{7BDD3775-EB70-4CD8-8AAE-9CD437056587}" sibTransId="{B80342C8-F598-417E-9E0E-42718F2E225A}"/>
    <dgm:cxn modelId="{23CF4E00-F6FE-4D59-9052-870FD00FB648}" type="presOf" srcId="{3088B417-1297-4644-B0DD-D00B02703533}" destId="{C6D518C0-0015-4FC1-9018-E3A92032C1EA}" srcOrd="0" destOrd="0" presId="urn:microsoft.com/office/officeart/2005/8/layout/hierarchy3"/>
    <dgm:cxn modelId="{493A4EE7-ACE6-4BC2-9985-BC6457908C9F}" type="presOf" srcId="{FF8630A7-C25A-420E-B9BE-64FD02EE64EB}" destId="{C1571D83-4089-4166-B8CF-C506B3BE54EF}" srcOrd="0" destOrd="0" presId="urn:microsoft.com/office/officeart/2005/8/layout/hierarchy3"/>
    <dgm:cxn modelId="{3C137EB1-1B81-422C-BE64-6F4234C6FFD5}" type="presOf" srcId="{95BA45A2-34EB-419B-BFC7-D5A66C082225}" destId="{9F395113-794C-4269-8E23-D035CC973168}" srcOrd="0" destOrd="0" presId="urn:microsoft.com/office/officeart/2005/8/layout/hierarchy3"/>
    <dgm:cxn modelId="{31C77A1B-C2E7-45CB-BE47-82C74E75C98A}" srcId="{C18A6FEA-8CD5-44AE-98CD-68B0DB75D332}" destId="{814C58FB-8467-4CEF-9CDD-1EF5121D47A7}" srcOrd="1" destOrd="0" parTransId="{7CB5EB37-8290-48C5-AA3E-C5C096AC70F5}" sibTransId="{7A5A3E27-1F73-481B-9C0C-4F7906C5D03C}"/>
    <dgm:cxn modelId="{DBF648C7-C159-4CCF-BF2E-ED529692478E}" type="presOf" srcId="{0CC84728-BA83-41E2-99B4-7EADFEC696A6}" destId="{C544DF30-2861-4821-B175-4B8293ADD2A2}" srcOrd="0" destOrd="0" presId="urn:microsoft.com/office/officeart/2005/8/layout/hierarchy3"/>
    <dgm:cxn modelId="{6D7E1E54-7B8A-4151-84E9-DE5FA5A8D812}" srcId="{1521581F-03AF-44F3-8AE5-1E601D2E91E0}" destId="{63BA57AE-739A-4BCE-9203-FFBDED501673}" srcOrd="1" destOrd="0" parTransId="{465EA353-2BB8-4A61-9A29-57A52032C5AF}" sibTransId="{FA8175B4-B1A5-4964-A892-19199A032D1B}"/>
    <dgm:cxn modelId="{E3DA7320-58AC-48F3-92FC-26F100B1F65C}" srcId="{814C58FB-8467-4CEF-9CDD-1EF5121D47A7}" destId="{0CC84728-BA83-41E2-99B4-7EADFEC696A6}" srcOrd="2" destOrd="0" parTransId="{3088B417-1297-4644-B0DD-D00B02703533}" sibTransId="{8679043D-1929-4C02-B662-38613871DD6F}"/>
    <dgm:cxn modelId="{7960E50F-88B3-4B05-9ECF-AECB98679731}" type="presOf" srcId="{DF991BB0-23C0-4328-8F5E-E5DEE4C24EC3}" destId="{2315ADE1-C2FE-48B7-A96C-53D7D442D4D3}" srcOrd="0" destOrd="0" presId="urn:microsoft.com/office/officeart/2005/8/layout/hierarchy3"/>
    <dgm:cxn modelId="{9EA087A3-420C-4AD1-AD34-6EC2F8FCF000}" type="presOf" srcId="{465EA353-2BB8-4A61-9A29-57A52032C5AF}" destId="{3C6D5427-F06B-499E-A128-27FC7C8FCDFE}" srcOrd="0" destOrd="0" presId="urn:microsoft.com/office/officeart/2005/8/layout/hierarchy3"/>
    <dgm:cxn modelId="{A9B9ED70-451C-463E-97EF-C45870EBA934}" srcId="{814C58FB-8467-4CEF-9CDD-1EF5121D47A7}" destId="{DF991BB0-23C0-4328-8F5E-E5DEE4C24EC3}" srcOrd="0" destOrd="0" parTransId="{0F37D0E1-3879-4958-990F-2D47A22E00E5}" sibTransId="{79FD35D0-675F-4A4F-8484-6BD4734AC32D}"/>
    <dgm:cxn modelId="{010D78E1-7140-4332-82CC-D5795801ACB4}" type="presParOf" srcId="{A6F26A2E-9560-4514-AE27-61DEA505805A}" destId="{7032D712-8F3C-4A26-81DF-8F3910E3EDD7}" srcOrd="0" destOrd="0" presId="urn:microsoft.com/office/officeart/2005/8/layout/hierarchy3"/>
    <dgm:cxn modelId="{C186E2EC-C330-4862-85E4-9B46138CECE6}" type="presParOf" srcId="{7032D712-8F3C-4A26-81DF-8F3910E3EDD7}" destId="{3CCC56AA-B3B5-495F-84D6-965DC469C096}" srcOrd="0" destOrd="0" presId="urn:microsoft.com/office/officeart/2005/8/layout/hierarchy3"/>
    <dgm:cxn modelId="{C64BFEB2-E3DE-4C8B-86C2-28A32A1F244E}" type="presParOf" srcId="{3CCC56AA-B3B5-495F-84D6-965DC469C096}" destId="{E521466E-E8FC-4355-A6B3-314CFE1D6A20}" srcOrd="0" destOrd="0" presId="urn:microsoft.com/office/officeart/2005/8/layout/hierarchy3"/>
    <dgm:cxn modelId="{CF0BD9A4-D812-455C-BAD8-C9BFC40419B8}" type="presParOf" srcId="{3CCC56AA-B3B5-495F-84D6-965DC469C096}" destId="{833D8452-17FA-47CF-88E2-06B9170D0EC2}" srcOrd="1" destOrd="0" presId="urn:microsoft.com/office/officeart/2005/8/layout/hierarchy3"/>
    <dgm:cxn modelId="{316FFE65-E8DA-4234-B89F-D8C83DADF3B8}" type="presParOf" srcId="{7032D712-8F3C-4A26-81DF-8F3910E3EDD7}" destId="{9CB08D79-DE1F-456D-9A80-EFBA0BDEE09A}" srcOrd="1" destOrd="0" presId="urn:microsoft.com/office/officeart/2005/8/layout/hierarchy3"/>
    <dgm:cxn modelId="{558A29AF-2742-443E-A2FC-6AA769147967}" type="presParOf" srcId="{9CB08D79-DE1F-456D-9A80-EFBA0BDEE09A}" destId="{4FCAE026-4F76-4A17-8999-8B43C2ACD34F}" srcOrd="0" destOrd="0" presId="urn:microsoft.com/office/officeart/2005/8/layout/hierarchy3"/>
    <dgm:cxn modelId="{1BC1BDE7-42AB-4F2E-B2F0-1A66898DB58F}" type="presParOf" srcId="{9CB08D79-DE1F-456D-9A80-EFBA0BDEE09A}" destId="{F0A39CCE-5EC6-4878-8D4F-6F99BBCE8B51}" srcOrd="1" destOrd="0" presId="urn:microsoft.com/office/officeart/2005/8/layout/hierarchy3"/>
    <dgm:cxn modelId="{35CB6C45-4F9B-480B-A7D7-A9EF5732DC8F}" type="presParOf" srcId="{9CB08D79-DE1F-456D-9A80-EFBA0BDEE09A}" destId="{3C6D5427-F06B-499E-A128-27FC7C8FCDFE}" srcOrd="2" destOrd="0" presId="urn:microsoft.com/office/officeart/2005/8/layout/hierarchy3"/>
    <dgm:cxn modelId="{25C4ED7C-7659-4C03-9902-274559A8D334}" type="presParOf" srcId="{9CB08D79-DE1F-456D-9A80-EFBA0BDEE09A}" destId="{84107ABD-2847-4277-82D8-106CBD9ACDEE}" srcOrd="3" destOrd="0" presId="urn:microsoft.com/office/officeart/2005/8/layout/hierarchy3"/>
    <dgm:cxn modelId="{452F4AFD-4854-4DAE-91AE-2D5835DE3730}" type="presParOf" srcId="{9CB08D79-DE1F-456D-9A80-EFBA0BDEE09A}" destId="{8F517AF4-BE52-405B-9251-C3670057D519}" srcOrd="4" destOrd="0" presId="urn:microsoft.com/office/officeart/2005/8/layout/hierarchy3"/>
    <dgm:cxn modelId="{79AAC825-7E8C-4147-83C6-8228559CAD6C}" type="presParOf" srcId="{9CB08D79-DE1F-456D-9A80-EFBA0BDEE09A}" destId="{C1571D83-4089-4166-B8CF-C506B3BE54EF}" srcOrd="5" destOrd="0" presId="urn:microsoft.com/office/officeart/2005/8/layout/hierarchy3"/>
    <dgm:cxn modelId="{1DD698EA-4483-47F6-9C22-9385E9FCAA60}" type="presParOf" srcId="{A6F26A2E-9560-4514-AE27-61DEA505805A}" destId="{0E5311F1-ACE7-4A47-AC4E-26617F4B0DEA}" srcOrd="1" destOrd="0" presId="urn:microsoft.com/office/officeart/2005/8/layout/hierarchy3"/>
    <dgm:cxn modelId="{FC836E27-E2C2-4DA4-ACB3-3055F68507EE}" type="presParOf" srcId="{0E5311F1-ACE7-4A47-AC4E-26617F4B0DEA}" destId="{0A1EE066-D293-47FC-9A83-0F579598DBEB}" srcOrd="0" destOrd="0" presId="urn:microsoft.com/office/officeart/2005/8/layout/hierarchy3"/>
    <dgm:cxn modelId="{A810AD57-C450-47FA-9B8D-54D6E64A9153}" type="presParOf" srcId="{0A1EE066-D293-47FC-9A83-0F579598DBEB}" destId="{ED0C7A0A-7928-44EA-8544-5705DA7D6A16}" srcOrd="0" destOrd="0" presId="urn:microsoft.com/office/officeart/2005/8/layout/hierarchy3"/>
    <dgm:cxn modelId="{66D4035A-ECC0-466E-85D0-97463F21C66A}" type="presParOf" srcId="{0A1EE066-D293-47FC-9A83-0F579598DBEB}" destId="{5705E36E-1B80-49A0-B1BB-EC0DA4E51ED1}" srcOrd="1" destOrd="0" presId="urn:microsoft.com/office/officeart/2005/8/layout/hierarchy3"/>
    <dgm:cxn modelId="{90587022-E79E-4AC7-8F0B-0B1F3524FC2D}" type="presParOf" srcId="{0E5311F1-ACE7-4A47-AC4E-26617F4B0DEA}" destId="{C34834F2-9E6C-4C8F-9D60-0C40D7BFD31A}" srcOrd="1" destOrd="0" presId="urn:microsoft.com/office/officeart/2005/8/layout/hierarchy3"/>
    <dgm:cxn modelId="{D84E5A17-D155-47DE-BA82-5D348E09BBBE}" type="presParOf" srcId="{C34834F2-9E6C-4C8F-9D60-0C40D7BFD31A}" destId="{95249340-C679-400E-9A0E-5BF4E0E6B0CB}" srcOrd="0" destOrd="0" presId="urn:microsoft.com/office/officeart/2005/8/layout/hierarchy3"/>
    <dgm:cxn modelId="{39D2C9F2-4BAB-4A65-A1BB-7FFC7426239C}" type="presParOf" srcId="{C34834F2-9E6C-4C8F-9D60-0C40D7BFD31A}" destId="{2315ADE1-C2FE-48B7-A96C-53D7D442D4D3}" srcOrd="1" destOrd="0" presId="urn:microsoft.com/office/officeart/2005/8/layout/hierarchy3"/>
    <dgm:cxn modelId="{EDD36741-2E35-4A31-B0A1-EF1FFA92C9FC}" type="presParOf" srcId="{C34834F2-9E6C-4C8F-9D60-0C40D7BFD31A}" destId="{41BA8A19-FDA6-4A95-9CD1-B3AD4EE65F4A}" srcOrd="2" destOrd="0" presId="urn:microsoft.com/office/officeart/2005/8/layout/hierarchy3"/>
    <dgm:cxn modelId="{49F05901-E270-4E16-8879-41D1D6AB185B}" type="presParOf" srcId="{C34834F2-9E6C-4C8F-9D60-0C40D7BFD31A}" destId="{68AB05D6-1121-468B-B7A7-44BC9F0B3992}" srcOrd="3" destOrd="0" presId="urn:microsoft.com/office/officeart/2005/8/layout/hierarchy3"/>
    <dgm:cxn modelId="{99269284-B467-4D7F-AA2B-8697E8446F5F}" type="presParOf" srcId="{C34834F2-9E6C-4C8F-9D60-0C40D7BFD31A}" destId="{C6D518C0-0015-4FC1-9018-E3A92032C1EA}" srcOrd="4" destOrd="0" presId="urn:microsoft.com/office/officeart/2005/8/layout/hierarchy3"/>
    <dgm:cxn modelId="{E9F255F3-B7CF-4B51-9FFC-901779A3F5F0}" type="presParOf" srcId="{C34834F2-9E6C-4C8F-9D60-0C40D7BFD31A}" destId="{C544DF30-2861-4821-B175-4B8293ADD2A2}" srcOrd="5" destOrd="0" presId="urn:microsoft.com/office/officeart/2005/8/layout/hierarchy3"/>
    <dgm:cxn modelId="{5FB0BC66-64B1-4C9F-9077-0DA3A0648C0B}" type="presParOf" srcId="{C34834F2-9E6C-4C8F-9D60-0C40D7BFD31A}" destId="{9F395113-794C-4269-8E23-D035CC973168}" srcOrd="6" destOrd="0" presId="urn:microsoft.com/office/officeart/2005/8/layout/hierarchy3"/>
    <dgm:cxn modelId="{DD3F16F9-A298-4DD9-BD35-FE55C3CC59A1}" type="presParOf" srcId="{C34834F2-9E6C-4C8F-9D60-0C40D7BFD31A}" destId="{FBC71D3C-0AFD-4624-B8E3-BD66E464290E}" srcOrd="7" destOrd="0" presId="urn:microsoft.com/office/officeart/2005/8/layout/hierarchy3"/>
    <dgm:cxn modelId="{3F84FFA8-FCA9-4A55-A0F7-FCA667107339}" type="presParOf" srcId="{C34834F2-9E6C-4C8F-9D60-0C40D7BFD31A}" destId="{99DF8A7D-E97F-4E9D-80EB-F874F91F26FF}" srcOrd="8" destOrd="0" presId="urn:microsoft.com/office/officeart/2005/8/layout/hierarchy3"/>
    <dgm:cxn modelId="{59A2F638-EF5B-463E-9481-7CABD9FE0563}" type="presParOf" srcId="{C34834F2-9E6C-4C8F-9D60-0C40D7BFD31A}" destId="{2CDDDF72-0EB9-4060-AC0B-B8FB75DB59AB}" srcOrd="9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8E8731-1C8D-4997-9949-1880E38E63A0}">
      <dsp:nvSpPr>
        <dsp:cNvPr id="0" name=""/>
        <dsp:cNvSpPr/>
      </dsp:nvSpPr>
      <dsp:spPr>
        <a:xfrm rot="5400000">
          <a:off x="1242594" y="593611"/>
          <a:ext cx="588318" cy="697244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4">
            <a:lumMod val="60000"/>
            <a:lumOff val="4000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4A735A-1C07-4345-BE3A-7C6DD38B51B8}">
      <dsp:nvSpPr>
        <dsp:cNvPr id="0" name=""/>
        <dsp:cNvSpPr/>
      </dsp:nvSpPr>
      <dsp:spPr>
        <a:xfrm>
          <a:off x="684074" y="0"/>
          <a:ext cx="1971372" cy="721661"/>
        </a:xfrm>
        <a:prstGeom prst="roundRect">
          <a:avLst>
            <a:gd name="adj" fmla="val 16670"/>
          </a:avLst>
        </a:prstGeom>
        <a:solidFill>
          <a:schemeClr val="accent3">
            <a:lumMod val="60000"/>
            <a:lumOff val="40000"/>
          </a:schemeClr>
        </a:solidFill>
        <a:ln w="25400" cap="flat" cmpd="sng" algn="ctr">
          <a:noFill/>
          <a:prstDash val="solid"/>
        </a:ln>
        <a:effectLst>
          <a:glow rad="63500">
            <a:schemeClr val="accent3">
              <a:satMod val="175000"/>
              <a:alpha val="40000"/>
            </a:schemeClr>
          </a:glow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perspectiveBelow"/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tx1"/>
              </a:solidFill>
            </a:rPr>
            <a:t>INTRODUCTION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719309" y="35235"/>
        <a:ext cx="1900902" cy="651191"/>
      </dsp:txXfrm>
    </dsp:sp>
    <dsp:sp modelId="{BBB84E2F-9129-4B55-9E76-BA229075F43A}">
      <dsp:nvSpPr>
        <dsp:cNvPr id="0" name=""/>
        <dsp:cNvSpPr/>
      </dsp:nvSpPr>
      <dsp:spPr>
        <a:xfrm>
          <a:off x="2144327" y="91480"/>
          <a:ext cx="749846" cy="5832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C629B5E-E78A-4DEC-A2EB-27A9FF83E531}">
      <dsp:nvSpPr>
        <dsp:cNvPr id="0" name=""/>
        <dsp:cNvSpPr/>
      </dsp:nvSpPr>
      <dsp:spPr>
        <a:xfrm rot="5400000">
          <a:off x="2204150" y="1397756"/>
          <a:ext cx="612442" cy="697244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4">
            <a:lumMod val="60000"/>
            <a:lumOff val="4000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A62319-D22D-459A-8622-79140E2F0990}">
      <dsp:nvSpPr>
        <dsp:cNvPr id="0" name=""/>
        <dsp:cNvSpPr/>
      </dsp:nvSpPr>
      <dsp:spPr>
        <a:xfrm>
          <a:off x="1871028" y="780805"/>
          <a:ext cx="1598688" cy="721661"/>
        </a:xfrm>
        <a:prstGeom prst="roundRect">
          <a:avLst>
            <a:gd name="adj" fmla="val 16670"/>
          </a:avLst>
        </a:prstGeom>
        <a:solidFill>
          <a:schemeClr val="accent3">
            <a:lumMod val="60000"/>
            <a:lumOff val="40000"/>
          </a:schemeClr>
        </a:solidFill>
        <a:ln w="25400" cap="flat" cmpd="sng" algn="ctr">
          <a:noFill/>
          <a:prstDash val="solid"/>
        </a:ln>
        <a:effectLst>
          <a:glow rad="63500">
            <a:schemeClr val="accent3">
              <a:satMod val="175000"/>
              <a:alpha val="40000"/>
            </a:schemeClr>
          </a:glow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perspectiveBelow"/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tx1"/>
              </a:solidFill>
            </a:rPr>
            <a:t>WORK FLOW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1906263" y="816040"/>
        <a:ext cx="1528218" cy="651191"/>
      </dsp:txXfrm>
    </dsp:sp>
    <dsp:sp modelId="{9206BCE7-2589-48FE-B023-8018DAE0CB75}">
      <dsp:nvSpPr>
        <dsp:cNvPr id="0" name=""/>
        <dsp:cNvSpPr/>
      </dsp:nvSpPr>
      <dsp:spPr>
        <a:xfrm>
          <a:off x="3072883" y="898236"/>
          <a:ext cx="749846" cy="5832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D85D67A-A9A4-4B7E-864D-D1C91F3B459C}">
      <dsp:nvSpPr>
        <dsp:cNvPr id="0" name=""/>
        <dsp:cNvSpPr/>
      </dsp:nvSpPr>
      <dsp:spPr>
        <a:xfrm rot="5400000">
          <a:off x="3279492" y="2261856"/>
          <a:ext cx="612442" cy="697244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4">
            <a:lumMod val="60000"/>
            <a:lumOff val="4000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46135E-9306-4284-A1EB-45CE1DD04FF6}">
      <dsp:nvSpPr>
        <dsp:cNvPr id="0" name=""/>
        <dsp:cNvSpPr/>
      </dsp:nvSpPr>
      <dsp:spPr>
        <a:xfrm>
          <a:off x="2845062" y="1640073"/>
          <a:ext cx="1886067" cy="721661"/>
        </a:xfrm>
        <a:prstGeom prst="roundRect">
          <a:avLst>
            <a:gd name="adj" fmla="val 16670"/>
          </a:avLst>
        </a:prstGeom>
        <a:solidFill>
          <a:schemeClr val="accent3">
            <a:lumMod val="60000"/>
            <a:lumOff val="40000"/>
          </a:schemeClr>
        </a:solidFill>
        <a:ln w="25400" cap="flat" cmpd="sng" algn="ctr">
          <a:noFill/>
          <a:prstDash val="solid"/>
        </a:ln>
        <a:effectLst>
          <a:glow rad="63500">
            <a:schemeClr val="accent3">
              <a:satMod val="175000"/>
              <a:alpha val="40000"/>
            </a:schemeClr>
          </a:glow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perspectiveBelow"/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tx1"/>
              </a:solidFill>
            </a:rPr>
            <a:t>REQUIREMENT ANALYSIS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2880297" y="1675308"/>
        <a:ext cx="1815597" cy="651191"/>
      </dsp:txXfrm>
    </dsp:sp>
    <dsp:sp modelId="{859377E2-E1CF-49A4-BC21-C70E3E435F90}">
      <dsp:nvSpPr>
        <dsp:cNvPr id="0" name=""/>
        <dsp:cNvSpPr/>
      </dsp:nvSpPr>
      <dsp:spPr>
        <a:xfrm>
          <a:off x="4297066" y="1708900"/>
          <a:ext cx="749846" cy="5832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C5F0164-AEAA-4826-8354-AC6F1D291344}">
      <dsp:nvSpPr>
        <dsp:cNvPr id="0" name=""/>
        <dsp:cNvSpPr/>
      </dsp:nvSpPr>
      <dsp:spPr>
        <a:xfrm rot="5400000">
          <a:off x="4421720" y="3053945"/>
          <a:ext cx="612442" cy="697244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4">
            <a:lumMod val="60000"/>
            <a:lumOff val="4000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1E778DF-CA4A-4B6E-8CD9-7428DBF4C765}">
      <dsp:nvSpPr>
        <dsp:cNvPr id="0" name=""/>
        <dsp:cNvSpPr/>
      </dsp:nvSpPr>
      <dsp:spPr>
        <a:xfrm>
          <a:off x="3925556" y="2450738"/>
          <a:ext cx="1705035" cy="721661"/>
        </a:xfrm>
        <a:prstGeom prst="roundRect">
          <a:avLst>
            <a:gd name="adj" fmla="val 16670"/>
          </a:avLst>
        </a:prstGeom>
        <a:solidFill>
          <a:schemeClr val="accent3">
            <a:lumMod val="60000"/>
            <a:lumOff val="40000"/>
          </a:schemeClr>
        </a:solidFill>
        <a:ln w="25400" cap="flat" cmpd="sng" algn="ctr">
          <a:noFill/>
          <a:prstDash val="solid"/>
        </a:ln>
        <a:effectLst>
          <a:glow rad="63500">
            <a:schemeClr val="accent3">
              <a:satMod val="175000"/>
              <a:alpha val="40000"/>
            </a:schemeClr>
          </a:glow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perspectiveBelow"/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tx1"/>
              </a:solidFill>
            </a:rPr>
            <a:t>FORMS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3960791" y="2485973"/>
        <a:ext cx="1634565" cy="651191"/>
      </dsp:txXfrm>
    </dsp:sp>
    <dsp:sp modelId="{DA14843C-6F1C-4DAB-8769-AC50FDABBB7B}">
      <dsp:nvSpPr>
        <dsp:cNvPr id="0" name=""/>
        <dsp:cNvSpPr/>
      </dsp:nvSpPr>
      <dsp:spPr>
        <a:xfrm>
          <a:off x="5287044" y="2519565"/>
          <a:ext cx="749846" cy="5832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63E5CAE-BC42-4299-B462-31B49D4AAFBB}">
      <dsp:nvSpPr>
        <dsp:cNvPr id="0" name=""/>
        <dsp:cNvSpPr/>
      </dsp:nvSpPr>
      <dsp:spPr>
        <a:xfrm rot="5400000">
          <a:off x="5334987" y="3918039"/>
          <a:ext cx="612442" cy="697244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4">
            <a:lumMod val="60000"/>
            <a:lumOff val="4000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39CA2C-62ED-4B45-A534-AACFD53AB711}">
      <dsp:nvSpPr>
        <dsp:cNvPr id="0" name=""/>
        <dsp:cNvSpPr/>
      </dsp:nvSpPr>
      <dsp:spPr>
        <a:xfrm>
          <a:off x="5006049" y="3261402"/>
          <a:ext cx="1836270" cy="721661"/>
        </a:xfrm>
        <a:prstGeom prst="roundRect">
          <a:avLst>
            <a:gd name="adj" fmla="val 16670"/>
          </a:avLst>
        </a:prstGeom>
        <a:solidFill>
          <a:schemeClr val="accent3">
            <a:lumMod val="60000"/>
            <a:lumOff val="40000"/>
          </a:schemeClr>
        </a:solidFill>
        <a:ln w="25400" cap="flat" cmpd="sng" algn="ctr">
          <a:noFill/>
          <a:prstDash val="solid"/>
        </a:ln>
        <a:effectLst>
          <a:glow rad="63500">
            <a:schemeClr val="accent3">
              <a:satMod val="175000"/>
              <a:alpha val="40000"/>
            </a:schemeClr>
          </a:glow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perspectiveBelow"/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tx1"/>
              </a:solidFill>
            </a:rPr>
            <a:t>REPORTS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5041284" y="3296637"/>
        <a:ext cx="1765800" cy="651191"/>
      </dsp:txXfrm>
    </dsp:sp>
    <dsp:sp modelId="{C869902F-6F03-42EA-A7B4-6AE4CF97CFCE}">
      <dsp:nvSpPr>
        <dsp:cNvPr id="0" name=""/>
        <dsp:cNvSpPr/>
      </dsp:nvSpPr>
      <dsp:spPr>
        <a:xfrm>
          <a:off x="6433155" y="3330229"/>
          <a:ext cx="749846" cy="5832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57A2FF9-572B-42A0-A09E-981D068FEB4C}">
      <dsp:nvSpPr>
        <dsp:cNvPr id="0" name=""/>
        <dsp:cNvSpPr/>
      </dsp:nvSpPr>
      <dsp:spPr>
        <a:xfrm>
          <a:off x="6009497" y="4072066"/>
          <a:ext cx="1739378" cy="721661"/>
        </a:xfrm>
        <a:prstGeom prst="roundRect">
          <a:avLst>
            <a:gd name="adj" fmla="val 16670"/>
          </a:avLst>
        </a:prstGeom>
        <a:solidFill>
          <a:schemeClr val="accent3">
            <a:lumMod val="60000"/>
            <a:lumOff val="40000"/>
          </a:schemeClr>
        </a:solidFill>
        <a:ln w="25400" cap="flat" cmpd="sng" algn="ctr">
          <a:noFill/>
          <a:prstDash val="solid"/>
        </a:ln>
        <a:effectLst>
          <a:glow rad="63500">
            <a:schemeClr val="accent3">
              <a:satMod val="175000"/>
              <a:alpha val="40000"/>
            </a:schemeClr>
          </a:glow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perspectiveBelow"/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tx1"/>
              </a:solidFill>
            </a:rPr>
            <a:t>CONCLUSION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6044732" y="4107301"/>
        <a:ext cx="1668908" cy="65119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2F5D3D-C137-4A48-99C2-83E2DC280454}">
      <dsp:nvSpPr>
        <dsp:cNvPr id="0" name=""/>
        <dsp:cNvSpPr/>
      </dsp:nvSpPr>
      <dsp:spPr>
        <a:xfrm>
          <a:off x="3025008" y="4758372"/>
          <a:ext cx="78794" cy="78794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DC3F16E0-3025-445D-A2D1-34FB8083BD46}">
      <dsp:nvSpPr>
        <dsp:cNvPr id="0" name=""/>
        <dsp:cNvSpPr/>
      </dsp:nvSpPr>
      <dsp:spPr>
        <a:xfrm>
          <a:off x="2857334" y="4830265"/>
          <a:ext cx="78794" cy="78794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6357AA2-6FCF-4217-B1EF-FCDA32391B54}">
      <dsp:nvSpPr>
        <dsp:cNvPr id="0" name=""/>
        <dsp:cNvSpPr/>
      </dsp:nvSpPr>
      <dsp:spPr>
        <a:xfrm>
          <a:off x="2686508" y="4891486"/>
          <a:ext cx="78794" cy="78794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6E1D0D2-46E0-4629-9118-75D195AC777F}">
      <dsp:nvSpPr>
        <dsp:cNvPr id="0" name=""/>
        <dsp:cNvSpPr/>
      </dsp:nvSpPr>
      <dsp:spPr>
        <a:xfrm>
          <a:off x="2513161" y="4941474"/>
          <a:ext cx="78794" cy="78794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3C83F50-B40E-418D-A782-EF428E6026FA}">
      <dsp:nvSpPr>
        <dsp:cNvPr id="0" name=""/>
        <dsp:cNvSpPr/>
      </dsp:nvSpPr>
      <dsp:spPr>
        <a:xfrm>
          <a:off x="2337923" y="4980229"/>
          <a:ext cx="78794" cy="78794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B9F8EC8-E89C-4071-A938-D33066EE3FEA}">
      <dsp:nvSpPr>
        <dsp:cNvPr id="0" name=""/>
        <dsp:cNvSpPr/>
      </dsp:nvSpPr>
      <dsp:spPr>
        <a:xfrm>
          <a:off x="3976842" y="4084939"/>
          <a:ext cx="78794" cy="78794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512C8857-D2E7-41F5-9BDB-B265CE642C66}">
      <dsp:nvSpPr>
        <dsp:cNvPr id="0" name=""/>
        <dsp:cNvSpPr/>
      </dsp:nvSpPr>
      <dsp:spPr>
        <a:xfrm>
          <a:off x="3836904" y="4218615"/>
          <a:ext cx="78794" cy="78794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5E88AC1-B35F-4BC2-AD94-5F25484AECB7}">
      <dsp:nvSpPr>
        <dsp:cNvPr id="0" name=""/>
        <dsp:cNvSpPr/>
      </dsp:nvSpPr>
      <dsp:spPr>
        <a:xfrm>
          <a:off x="4584503" y="3291310"/>
          <a:ext cx="78794" cy="78794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8F2F4B11-6849-4374-B69A-12CAE6D219EF}">
      <dsp:nvSpPr>
        <dsp:cNvPr id="0" name=""/>
        <dsp:cNvSpPr/>
      </dsp:nvSpPr>
      <dsp:spPr>
        <a:xfrm>
          <a:off x="4996124" y="2352772"/>
          <a:ext cx="78794" cy="78794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C851501C-772C-4D3C-B32C-2EC45D608EFB}">
      <dsp:nvSpPr>
        <dsp:cNvPr id="0" name=""/>
        <dsp:cNvSpPr/>
      </dsp:nvSpPr>
      <dsp:spPr>
        <a:xfrm>
          <a:off x="5192164" y="1375479"/>
          <a:ext cx="78794" cy="78794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04AF0A9-5CA6-4960-B7F5-9A5A5F06ADD7}">
      <dsp:nvSpPr>
        <dsp:cNvPr id="0" name=""/>
        <dsp:cNvSpPr/>
      </dsp:nvSpPr>
      <dsp:spPr>
        <a:xfrm>
          <a:off x="5021339" y="213962"/>
          <a:ext cx="78794" cy="78794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75A17C95-062A-4F63-AAC2-4CA783454EDA}">
      <dsp:nvSpPr>
        <dsp:cNvPr id="0" name=""/>
        <dsp:cNvSpPr/>
      </dsp:nvSpPr>
      <dsp:spPr>
        <a:xfrm>
          <a:off x="5137954" y="120164"/>
          <a:ext cx="78794" cy="78794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3BC9974-2FC9-42BB-A669-DE9109452B46}">
      <dsp:nvSpPr>
        <dsp:cNvPr id="0" name=""/>
        <dsp:cNvSpPr/>
      </dsp:nvSpPr>
      <dsp:spPr>
        <a:xfrm>
          <a:off x="5255200" y="26366"/>
          <a:ext cx="78794" cy="78794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A5AB87EE-B9FC-440E-A23B-B796355B20B2}">
      <dsp:nvSpPr>
        <dsp:cNvPr id="0" name=""/>
        <dsp:cNvSpPr/>
      </dsp:nvSpPr>
      <dsp:spPr>
        <a:xfrm>
          <a:off x="5371815" y="120164"/>
          <a:ext cx="78794" cy="78794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5D39112D-BC26-4E41-8A52-8CC3D5997D53}">
      <dsp:nvSpPr>
        <dsp:cNvPr id="0" name=""/>
        <dsp:cNvSpPr/>
      </dsp:nvSpPr>
      <dsp:spPr>
        <a:xfrm>
          <a:off x="5488431" y="213962"/>
          <a:ext cx="78794" cy="78794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8C54A14-E219-4610-AA17-1146A8D8527D}">
      <dsp:nvSpPr>
        <dsp:cNvPr id="0" name=""/>
        <dsp:cNvSpPr/>
      </dsp:nvSpPr>
      <dsp:spPr>
        <a:xfrm>
          <a:off x="5255200" y="224072"/>
          <a:ext cx="78794" cy="78794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5128C706-F37A-4318-93B0-B5F4CC209AC5}">
      <dsp:nvSpPr>
        <dsp:cNvPr id="0" name=""/>
        <dsp:cNvSpPr/>
      </dsp:nvSpPr>
      <dsp:spPr>
        <a:xfrm>
          <a:off x="5255200" y="421777"/>
          <a:ext cx="78794" cy="78794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D540E7B0-3C50-4F7C-B933-3A80EB86F1C7}">
      <dsp:nvSpPr>
        <dsp:cNvPr id="0" name=""/>
        <dsp:cNvSpPr/>
      </dsp:nvSpPr>
      <dsp:spPr>
        <a:xfrm>
          <a:off x="1931660" y="5108948"/>
          <a:ext cx="1699433" cy="481308"/>
        </a:xfrm>
        <a:prstGeom prst="roundRect">
          <a:avLst/>
        </a:prstGeom>
        <a:solidFill>
          <a:schemeClr val="tx2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59713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  <a:latin typeface="+mn-lt"/>
            </a:rPr>
            <a:t>Requirement Analysis</a:t>
          </a:r>
          <a:endParaRPr lang="en-US" sz="1600" b="1" kern="1200" dirty="0">
            <a:solidFill>
              <a:schemeClr val="tx1"/>
            </a:solidFill>
            <a:latin typeface="+mn-lt"/>
          </a:endParaRPr>
        </a:p>
      </dsp:txBody>
      <dsp:txXfrm>
        <a:off x="1955156" y="5132444"/>
        <a:ext cx="1652441" cy="434316"/>
      </dsp:txXfrm>
    </dsp:sp>
    <dsp:sp modelId="{73BE3F98-9A26-4935-A22B-B9F203566C97}">
      <dsp:nvSpPr>
        <dsp:cNvPr id="0" name=""/>
        <dsp:cNvSpPr/>
      </dsp:nvSpPr>
      <dsp:spPr>
        <a:xfrm>
          <a:off x="1460155" y="4675046"/>
          <a:ext cx="787942" cy="788012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AAB46B40-2333-4840-AD5A-0AA462BFB5F5}">
      <dsp:nvSpPr>
        <dsp:cNvPr id="0" name=""/>
        <dsp:cNvSpPr/>
      </dsp:nvSpPr>
      <dsp:spPr>
        <a:xfrm>
          <a:off x="3561124" y="4579844"/>
          <a:ext cx="1699433" cy="455508"/>
        </a:xfrm>
        <a:prstGeom prst="roundRect">
          <a:avLst/>
        </a:prstGeom>
        <a:solidFill>
          <a:schemeClr val="tx2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59713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  <a:latin typeface="+mn-lt"/>
            </a:rPr>
            <a:t>Tables creation </a:t>
          </a:r>
          <a:endParaRPr lang="en-US" sz="1600" b="1" kern="1200" dirty="0">
            <a:solidFill>
              <a:schemeClr val="tx1"/>
            </a:solidFill>
            <a:latin typeface="+mn-lt"/>
          </a:endParaRPr>
        </a:p>
      </dsp:txBody>
      <dsp:txXfrm>
        <a:off x="3583360" y="4602080"/>
        <a:ext cx="1654961" cy="411036"/>
      </dsp:txXfrm>
    </dsp:sp>
    <dsp:sp modelId="{0FE59940-D244-4CD6-903E-FE3EEFD85DFA}">
      <dsp:nvSpPr>
        <dsp:cNvPr id="0" name=""/>
        <dsp:cNvSpPr/>
      </dsp:nvSpPr>
      <dsp:spPr>
        <a:xfrm>
          <a:off x="3089620" y="4133042"/>
          <a:ext cx="787942" cy="788012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C9109849-B1EE-44F1-B4C1-F8F76971E49B}">
      <dsp:nvSpPr>
        <dsp:cNvPr id="0" name=""/>
        <dsp:cNvSpPr/>
      </dsp:nvSpPr>
      <dsp:spPr>
        <a:xfrm>
          <a:off x="4364825" y="3768242"/>
          <a:ext cx="1699433" cy="455508"/>
        </a:xfrm>
        <a:prstGeom prst="roundRect">
          <a:avLst/>
        </a:prstGeom>
        <a:solidFill>
          <a:schemeClr val="tx2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59713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  <a:latin typeface="+mn-lt"/>
            </a:rPr>
            <a:t>Validation</a:t>
          </a:r>
          <a:endParaRPr lang="en-US" sz="1600" b="1" kern="1200" dirty="0">
            <a:solidFill>
              <a:schemeClr val="tx1"/>
            </a:solidFill>
            <a:latin typeface="+mn-lt"/>
          </a:endParaRPr>
        </a:p>
      </dsp:txBody>
      <dsp:txXfrm>
        <a:off x="4387061" y="3790478"/>
        <a:ext cx="1654961" cy="411036"/>
      </dsp:txXfrm>
    </dsp:sp>
    <dsp:sp modelId="{0CC39AD8-F4B7-47EB-BE26-1746DBC66816}">
      <dsp:nvSpPr>
        <dsp:cNvPr id="0" name=""/>
        <dsp:cNvSpPr/>
      </dsp:nvSpPr>
      <dsp:spPr>
        <a:xfrm>
          <a:off x="3893321" y="3321440"/>
          <a:ext cx="787942" cy="788012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C487B77E-DC4F-4E0F-A2F2-7260F613F95F}">
      <dsp:nvSpPr>
        <dsp:cNvPr id="0" name=""/>
        <dsp:cNvSpPr/>
      </dsp:nvSpPr>
      <dsp:spPr>
        <a:xfrm>
          <a:off x="4849567" y="2879692"/>
          <a:ext cx="1699433" cy="455508"/>
        </a:xfrm>
        <a:prstGeom prst="roundRect">
          <a:avLst/>
        </a:prstGeom>
        <a:solidFill>
          <a:schemeClr val="tx2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59713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  <a:latin typeface="+mn-lt"/>
            </a:rPr>
            <a:t>Forms </a:t>
          </a:r>
          <a:endParaRPr lang="en-US" sz="1600" b="1" kern="1200" dirty="0">
            <a:solidFill>
              <a:schemeClr val="tx1"/>
            </a:solidFill>
            <a:latin typeface="+mn-lt"/>
          </a:endParaRPr>
        </a:p>
      </dsp:txBody>
      <dsp:txXfrm>
        <a:off x="4871803" y="2901928"/>
        <a:ext cx="1654961" cy="411036"/>
      </dsp:txXfrm>
    </dsp:sp>
    <dsp:sp modelId="{9D3504D0-C4C7-467D-97D3-80704BD6A910}">
      <dsp:nvSpPr>
        <dsp:cNvPr id="0" name=""/>
        <dsp:cNvSpPr/>
      </dsp:nvSpPr>
      <dsp:spPr>
        <a:xfrm>
          <a:off x="4378063" y="2432890"/>
          <a:ext cx="787942" cy="788012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346D83BD-7216-45E5-989A-57DC097B2DDD}">
      <dsp:nvSpPr>
        <dsp:cNvPr id="0" name=""/>
        <dsp:cNvSpPr/>
      </dsp:nvSpPr>
      <dsp:spPr>
        <a:xfrm>
          <a:off x="5162223" y="1922619"/>
          <a:ext cx="1699433" cy="455508"/>
        </a:xfrm>
        <a:prstGeom prst="roundRect">
          <a:avLst/>
        </a:prstGeom>
        <a:solidFill>
          <a:schemeClr val="tx2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59713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  <a:latin typeface="+mn-lt"/>
            </a:rPr>
            <a:t>Reports</a:t>
          </a:r>
          <a:endParaRPr lang="en-US" sz="1900" b="1" kern="1200" dirty="0">
            <a:solidFill>
              <a:schemeClr val="tx1"/>
            </a:solidFill>
            <a:latin typeface="+mn-lt"/>
          </a:endParaRPr>
        </a:p>
      </dsp:txBody>
      <dsp:txXfrm>
        <a:off x="5184459" y="1944855"/>
        <a:ext cx="1654961" cy="411036"/>
      </dsp:txXfrm>
    </dsp:sp>
    <dsp:sp modelId="{A84FBB5E-45FB-4EB9-B75C-0E7AD5A77F65}">
      <dsp:nvSpPr>
        <dsp:cNvPr id="0" name=""/>
        <dsp:cNvSpPr/>
      </dsp:nvSpPr>
      <dsp:spPr>
        <a:xfrm>
          <a:off x="4690718" y="1475817"/>
          <a:ext cx="787942" cy="788012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994210E2-25CA-4CE5-A1F1-0C321FB4B58F}">
      <dsp:nvSpPr>
        <dsp:cNvPr id="0" name=""/>
        <dsp:cNvSpPr/>
      </dsp:nvSpPr>
      <dsp:spPr>
        <a:xfrm>
          <a:off x="5332418" y="981273"/>
          <a:ext cx="1699433" cy="455508"/>
        </a:xfrm>
        <a:prstGeom prst="roundRect">
          <a:avLst/>
        </a:prstGeom>
        <a:solidFill>
          <a:schemeClr val="tx2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59713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  <a:latin typeface="+mn-lt"/>
            </a:rPr>
            <a:t>Oracle application</a:t>
          </a:r>
          <a:endParaRPr lang="en-US" sz="1600" b="1" kern="1200" dirty="0">
            <a:solidFill>
              <a:schemeClr val="tx1"/>
            </a:solidFill>
            <a:latin typeface="+mn-lt"/>
          </a:endParaRPr>
        </a:p>
      </dsp:txBody>
      <dsp:txXfrm>
        <a:off x="5354654" y="1003509"/>
        <a:ext cx="1654961" cy="411036"/>
      </dsp:txXfrm>
    </dsp:sp>
    <dsp:sp modelId="{49A067B6-5E64-43CF-9279-A54E852BCB36}">
      <dsp:nvSpPr>
        <dsp:cNvPr id="0" name=""/>
        <dsp:cNvSpPr/>
      </dsp:nvSpPr>
      <dsp:spPr>
        <a:xfrm>
          <a:off x="4860914" y="534471"/>
          <a:ext cx="787942" cy="788012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21466E-E8FC-4355-A6B3-314CFE1D6A20}">
      <dsp:nvSpPr>
        <dsp:cNvPr id="0" name=""/>
        <dsp:cNvSpPr/>
      </dsp:nvSpPr>
      <dsp:spPr>
        <a:xfrm>
          <a:off x="383704" y="677"/>
          <a:ext cx="2480270" cy="614474"/>
        </a:xfrm>
        <a:prstGeom prst="roundRect">
          <a:avLst>
            <a:gd name="adj" fmla="val 10000"/>
          </a:avLst>
        </a:prstGeom>
        <a:solidFill>
          <a:schemeClr val="accent5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5"/>
        </a:fillRef>
        <a:effectRef idx="1">
          <a:schemeClr val="accent5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AUTHOR TABLE</a:t>
          </a:r>
          <a:endParaRPr lang="en-US" sz="2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401701" y="18674"/>
        <a:ext cx="2444276" cy="578480"/>
      </dsp:txXfrm>
    </dsp:sp>
    <dsp:sp modelId="{4FCAE026-4F76-4A17-8999-8B43C2ACD34F}">
      <dsp:nvSpPr>
        <dsp:cNvPr id="0" name=""/>
        <dsp:cNvSpPr/>
      </dsp:nvSpPr>
      <dsp:spPr>
        <a:xfrm>
          <a:off x="631731" y="615152"/>
          <a:ext cx="248027" cy="4800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80054"/>
              </a:lnTo>
              <a:lnTo>
                <a:pt x="248027" y="48005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0A39CCE-5EC6-4878-8D4F-6F99BBCE8B51}">
      <dsp:nvSpPr>
        <dsp:cNvPr id="0" name=""/>
        <dsp:cNvSpPr/>
      </dsp:nvSpPr>
      <dsp:spPr>
        <a:xfrm>
          <a:off x="879758" y="827976"/>
          <a:ext cx="1362074" cy="53446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Trim</a:t>
          </a:r>
          <a:endParaRPr lang="en-US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895412" y="843630"/>
        <a:ext cx="1330766" cy="503153"/>
      </dsp:txXfrm>
    </dsp:sp>
    <dsp:sp modelId="{3C6D5427-F06B-499E-A128-27FC7C8FCDFE}">
      <dsp:nvSpPr>
        <dsp:cNvPr id="0" name=""/>
        <dsp:cNvSpPr/>
      </dsp:nvSpPr>
      <dsp:spPr>
        <a:xfrm>
          <a:off x="631731" y="615152"/>
          <a:ext cx="248027" cy="12045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4568"/>
              </a:lnTo>
              <a:lnTo>
                <a:pt x="248027" y="120456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4107ABD-2847-4277-82D8-106CBD9ACDEE}">
      <dsp:nvSpPr>
        <dsp:cNvPr id="0" name=""/>
        <dsp:cNvSpPr/>
      </dsp:nvSpPr>
      <dsp:spPr>
        <a:xfrm>
          <a:off x="879758" y="1575262"/>
          <a:ext cx="1362074" cy="48891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Author_ID</a:t>
          </a:r>
          <a:endParaRPr lang="en-US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894078" y="1589582"/>
        <a:ext cx="1333434" cy="460276"/>
      </dsp:txXfrm>
    </dsp:sp>
    <dsp:sp modelId="{8F517AF4-BE52-405B-9251-C3670057D519}">
      <dsp:nvSpPr>
        <dsp:cNvPr id="0" name=""/>
        <dsp:cNvSpPr/>
      </dsp:nvSpPr>
      <dsp:spPr>
        <a:xfrm>
          <a:off x="631731" y="615152"/>
          <a:ext cx="248027" cy="19063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06309"/>
              </a:lnTo>
              <a:lnTo>
                <a:pt x="248027" y="190630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571D83-4089-4166-B8CF-C506B3BE54EF}">
      <dsp:nvSpPr>
        <dsp:cNvPr id="0" name=""/>
        <dsp:cNvSpPr/>
      </dsp:nvSpPr>
      <dsp:spPr>
        <a:xfrm>
          <a:off x="879758" y="2277003"/>
          <a:ext cx="1362074" cy="48891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Gender</a:t>
          </a:r>
          <a:endParaRPr lang="en-US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894078" y="2291323"/>
        <a:ext cx="1333434" cy="460276"/>
      </dsp:txXfrm>
    </dsp:sp>
    <dsp:sp modelId="{ED0C7A0A-7928-44EA-8544-5705DA7D6A16}">
      <dsp:nvSpPr>
        <dsp:cNvPr id="0" name=""/>
        <dsp:cNvSpPr/>
      </dsp:nvSpPr>
      <dsp:spPr>
        <a:xfrm>
          <a:off x="3289623" y="677"/>
          <a:ext cx="2422671" cy="647956"/>
        </a:xfrm>
        <a:prstGeom prst="roundRect">
          <a:avLst>
            <a:gd name="adj" fmla="val 10000"/>
          </a:avLst>
        </a:prstGeom>
        <a:solidFill>
          <a:schemeClr val="accent5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5"/>
        </a:fillRef>
        <a:effectRef idx="1">
          <a:schemeClr val="accent5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BOOK TABLE</a:t>
          </a:r>
          <a:endParaRPr lang="en-US" sz="2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308601" y="19655"/>
        <a:ext cx="2384715" cy="610000"/>
      </dsp:txXfrm>
    </dsp:sp>
    <dsp:sp modelId="{95249340-C679-400E-9A0E-5BF4E0E6B0CB}">
      <dsp:nvSpPr>
        <dsp:cNvPr id="0" name=""/>
        <dsp:cNvSpPr/>
      </dsp:nvSpPr>
      <dsp:spPr>
        <a:xfrm>
          <a:off x="3531890" y="648634"/>
          <a:ext cx="242267" cy="5399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39935"/>
              </a:lnTo>
              <a:lnTo>
                <a:pt x="242267" y="53993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15ADE1-C2FE-48B7-A96C-53D7D442D4D3}">
      <dsp:nvSpPr>
        <dsp:cNvPr id="0" name=""/>
        <dsp:cNvSpPr/>
      </dsp:nvSpPr>
      <dsp:spPr>
        <a:xfrm>
          <a:off x="3774157" y="936108"/>
          <a:ext cx="1362074" cy="50492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Book_ID</a:t>
          </a:r>
          <a:endParaRPr lang="en-US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788946" y="950897"/>
        <a:ext cx="1332496" cy="475343"/>
      </dsp:txXfrm>
    </dsp:sp>
    <dsp:sp modelId="{41BA8A19-FDA6-4A95-9CD1-B3AD4EE65F4A}">
      <dsp:nvSpPr>
        <dsp:cNvPr id="0" name=""/>
        <dsp:cNvSpPr/>
      </dsp:nvSpPr>
      <dsp:spPr>
        <a:xfrm>
          <a:off x="3531890" y="648634"/>
          <a:ext cx="242267" cy="12359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35925"/>
              </a:lnTo>
              <a:lnTo>
                <a:pt x="242267" y="123592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AB05D6-1121-468B-B7A7-44BC9F0B3992}">
      <dsp:nvSpPr>
        <dsp:cNvPr id="0" name=""/>
        <dsp:cNvSpPr/>
      </dsp:nvSpPr>
      <dsp:spPr>
        <a:xfrm>
          <a:off x="3774157" y="1653853"/>
          <a:ext cx="1362074" cy="46141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Author_ID</a:t>
          </a:r>
          <a:endParaRPr lang="en-US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787671" y="1667367"/>
        <a:ext cx="1335046" cy="434383"/>
      </dsp:txXfrm>
    </dsp:sp>
    <dsp:sp modelId="{C6D518C0-0015-4FC1-9018-E3A92032C1EA}">
      <dsp:nvSpPr>
        <dsp:cNvPr id="0" name=""/>
        <dsp:cNvSpPr/>
      </dsp:nvSpPr>
      <dsp:spPr>
        <a:xfrm>
          <a:off x="3531890" y="648634"/>
          <a:ext cx="242267" cy="19101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61"/>
              </a:lnTo>
              <a:lnTo>
                <a:pt x="242267" y="191016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544DF30-2861-4821-B175-4B8293ADD2A2}">
      <dsp:nvSpPr>
        <dsp:cNvPr id="0" name=""/>
        <dsp:cNvSpPr/>
      </dsp:nvSpPr>
      <dsp:spPr>
        <a:xfrm>
          <a:off x="3774157" y="2328089"/>
          <a:ext cx="1362074" cy="46141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ISBN code</a:t>
          </a:r>
          <a:endParaRPr lang="en-US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787671" y="2341603"/>
        <a:ext cx="1335046" cy="434383"/>
      </dsp:txXfrm>
    </dsp:sp>
    <dsp:sp modelId="{9F395113-794C-4269-8E23-D035CC973168}">
      <dsp:nvSpPr>
        <dsp:cNvPr id="0" name=""/>
        <dsp:cNvSpPr/>
      </dsp:nvSpPr>
      <dsp:spPr>
        <a:xfrm>
          <a:off x="3531890" y="648634"/>
          <a:ext cx="242267" cy="25097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09746"/>
              </a:lnTo>
              <a:lnTo>
                <a:pt x="242267" y="250974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C71D3C-0AFD-4624-B8E3-BD66E464290E}">
      <dsp:nvSpPr>
        <dsp:cNvPr id="0" name=""/>
        <dsp:cNvSpPr/>
      </dsp:nvSpPr>
      <dsp:spPr>
        <a:xfrm>
          <a:off x="3774157" y="2927674"/>
          <a:ext cx="1362074" cy="46141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Size,Cost</a:t>
          </a:r>
          <a:endParaRPr lang="en-US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787671" y="2941188"/>
        <a:ext cx="1335046" cy="434383"/>
      </dsp:txXfrm>
    </dsp:sp>
    <dsp:sp modelId="{99DF8A7D-E97F-4E9D-80EB-F874F91F26FF}">
      <dsp:nvSpPr>
        <dsp:cNvPr id="0" name=""/>
        <dsp:cNvSpPr/>
      </dsp:nvSpPr>
      <dsp:spPr>
        <a:xfrm>
          <a:off x="3531890" y="648634"/>
          <a:ext cx="242267" cy="318398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83982"/>
              </a:lnTo>
              <a:lnTo>
                <a:pt x="242267" y="318398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CDDDF72-0EB9-4060-AC0B-B8FB75DB59AB}">
      <dsp:nvSpPr>
        <dsp:cNvPr id="0" name=""/>
        <dsp:cNvSpPr/>
      </dsp:nvSpPr>
      <dsp:spPr>
        <a:xfrm>
          <a:off x="3774157" y="3601910"/>
          <a:ext cx="1362074" cy="46141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Book Type</a:t>
          </a:r>
          <a:endParaRPr lang="en-US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787671" y="3615424"/>
        <a:ext cx="1335046" cy="4343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scendingPictureAccentProcess">
  <dgm:title val=""/>
  <dgm:desc val=""/>
  <dgm:catLst>
    <dgm:cat type="process" pri="22500"/>
    <dgm:cat type="picture" pri="16000"/>
    <dgm:cat type="pictureconvert" pri="1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func="var" arg="dir" op="equ" val="norm">
            <dgm:choose name="Name5">
              <dgm:if name="Name6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l" for="ch" forName="parTx1" refType="w" fact="0.2711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2469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7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l" for="ch" forName="parTx1" refType="w" fact="0.366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3333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if>
          <dgm:else name="Name8">
            <dgm:choose name="Name9">
              <dgm:if name="Name10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r" for="ch" forName="parTx1" refType="w" fact="0.7289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7531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1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r" for="ch" forName="parTx1" refType="w" fact="0.634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6667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func="var" arg="dir" op="equ" val="norm">
            <dgm:choose name="Name15">
              <dgm:if name="Name16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3221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3056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2859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309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334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359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3848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1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359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359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197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178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688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3503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17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4274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405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3794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4106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44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477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5106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44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477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477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2614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2369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l" for="ch" forName="parTx2" refType="w" fact="0.4893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4648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if>
          <dgm:else name="Name18">
            <dgm:choose name="Name19">
              <dgm:if name="Name20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6779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6944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7141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690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665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640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6152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9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640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640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803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821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312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6497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21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5726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594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6206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5894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55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522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4894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56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522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522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7386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7631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r" for="ch" forName="parTx2" refType="w" fact="0.5107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5352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func="var" arg="dir" op="equ" val="norm">
            <dgm:choose name="Name25">
              <dgm:if name="Name26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2981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2676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357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44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323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23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6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68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491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513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68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68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487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1328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732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3573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4763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4604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27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3684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3307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912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494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342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23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12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79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6068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6346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79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79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837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1641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l" for="ch" forName="parTx2" refType="w" fact="0.4612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4416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l" for="ch" forName="parTx3" refType="w" fact="0.5886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569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if>
          <dgm:else name="Name28">
            <dgm:choose name="Name29">
              <dgm:if name="Name30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7019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7324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643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55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677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76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4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31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509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486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31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31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513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8672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268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6427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5237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5396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31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6316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6693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088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506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658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76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88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21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3932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3654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21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21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163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8359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r" for="ch" forName="parTx2" refType="w" fact="0.5388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5584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r" for="ch" forName="parTx3" refType="w" fact="0.4114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431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func="var" arg="dir" op="equ" val="norm">
            <dgm:choose name="Name35">
              <dgm:if name="Name36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3253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2949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263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313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67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5486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5267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5462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565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5851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604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565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565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466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1333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10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3972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229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509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722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5588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37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3978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3606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3223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829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717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6709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6441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6679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691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715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739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691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691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793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163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l" for="ch" forName="parTx2" refType="w" fact="0.502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4857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l" for="ch" forName="parTx3" refType="w" fact="0.6394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6231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l" for="ch" forName="parTx4" refType="w" fact="0.6997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6834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if>
          <dgm:else name="Name38">
            <dgm:choose name="Name39">
              <dgm:if name="Name40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6747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7051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736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687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32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4514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4733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4538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434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4149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395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434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434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534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8667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89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6028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771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490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278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4412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41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6022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6394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6777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171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283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3291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3559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3321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308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284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260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308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308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207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837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r" for="ch" forName="parTx2" refType="w" fact="0.498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5143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r" for="ch" forName="parTx3" refType="w" fact="0.3606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3769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r" for="ch" forName="parTx4" refType="w" fact="0.3003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3166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else>
        </dgm:choose>
      </dgm:if>
      <dgm:if name="Name42" axis="ch" ptType="node" func="cnt" op="equ" val="5">
        <dgm:choose name="Name43">
          <dgm:if name="Name44" func="var" arg="dir" op="equ" val="norm">
            <dgm:choose name="Name45">
              <dgm:if name="Name46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3263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001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2733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462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69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484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5549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601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577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5951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6123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629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6467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6123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6123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1746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1631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982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3866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194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5078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827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5712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18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6064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47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3951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634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331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981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68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43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672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7278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699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7207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741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7624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7832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741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741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211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197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l" for="ch" forName="parTx2" refType="w" fact="0.4822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4682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l" for="ch" forName="parTx3" refType="w" fact="0.629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61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l" for="ch" forName="parTx4" refType="w" fact="0.7057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6917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l" for="ch" forName="parTx5" refType="w" fact="0.7484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7344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if>
          <dgm:else name="Name48">
            <dgm:choose name="Name49">
              <dgm:if name="Name50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6737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999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7267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538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30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516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4451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399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422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4049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3877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370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3533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3877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3877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8254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8369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018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6134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806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4922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173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4288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82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3936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51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6049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366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669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019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31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57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328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2722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300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2793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258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2376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2168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258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258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788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802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r" for="ch" forName="parTx2" refType="w" fact="0.5178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5318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r" for="ch" forName="parTx3" refType="w" fact="0.371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38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r" for="ch" forName="parTx4" refType="w" fact="0.2943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3083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r" for="ch" forName="parTx5" refType="w" fact="0.2516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2656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else>
        </dgm:choose>
      </dgm:if>
      <dgm:if name="Name52" axis="ch" ptType="node" func="cnt" op="equ" val="6">
        <dgm:choose name="Name53">
          <dgm:if name="Name54" func="var" arg="dir" op="equ" val="norm">
            <dgm:choose name="Name55">
              <dgm:if name="Name56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3608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3384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15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2923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2688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883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69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5696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624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6509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6281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6437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6593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67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690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6593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6593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091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1988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273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4169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349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524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998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5894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416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6313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644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6541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57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4276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401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739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3464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3186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786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564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67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740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7714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7443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7628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7814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7999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818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7814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7814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479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2356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l" for="ch" forName="parTx2" refType="w" fact="0.5064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4941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l" for="ch" forName="parTx3" refType="w" fact="0.6339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6216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l" for="ch" forName="parTx4" refType="w" fact="0.7108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698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l" for="ch" forName="parTx5" refType="w" fact="0.7604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7481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l" for="ch" forName="parTx6" refType="w" fact="0.7874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7751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if>
          <dgm:else name="Name58">
            <dgm:choose name="Name59">
              <dgm:if name="Name60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6392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6616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84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7077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7312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117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30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4304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375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3491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3719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3563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340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32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309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340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340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909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8012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727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5831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651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475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002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4106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584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3687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356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3459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61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5724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599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261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6536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6814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214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436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32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259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2286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2557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2372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218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2001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181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218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218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522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7644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r" for="ch" forName="parTx2" refType="w" fact="0.4937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5059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r" for="ch" forName="parTx3" refType="w" fact="0.3662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3784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r" for="ch" forName="parTx4" refType="w" fact="0.2893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301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r" for="ch" forName="parTx5" refType="w" fact="0.2397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2519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r" for="ch" forName="parTx6" refType="w" fact="0.2127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2249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else>
        </dgm:choose>
      </dgm:if>
      <dgm:else name="Name62">
        <dgm:choose name="Name63">
          <dgm:if name="Name64" func="var" arg="dir" op="equ" val="norm">
            <dgm:choose name="Name65">
              <dgm:if name="Name66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390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3721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353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337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142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088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926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583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6371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6701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6853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6627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6773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6919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706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7212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6919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6919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556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246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53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4439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511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541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6132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6037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576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648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828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6733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  <dgm:constr type="l" for="ch" forName="parTx7" refType="w" fact="0.6966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6871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l" for="ch" forName="desTx7" refType="r" refFor="ch" refForName="parTx7"/>
                  <dgm:constr type="r" for="ch" forName="desTx7" refType="w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67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445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4244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4026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806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584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803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618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665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7266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7643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7816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7558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772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7892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8058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822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7892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7892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91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2806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l" for="ch" forName="parTx2" refType="w" fact="0.5172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5063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l" for="ch" forName="parTx3" refType="w" fact="0.628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6176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l" for="ch" forName="parTx4" refType="w" fact="0.6994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688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l" for="ch" forName="parTx5" refType="w" fact="0.7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7391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l" for="ch" forName="parTx6" refType="w" fact="0.7788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7679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l" for="ch" forName="parTx7" refType="w" fact="0.794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7836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if>
          <dgm:else name="Name68">
            <dgm:choose name="Name69">
              <dgm:if name="Name70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609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6279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647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663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858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912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074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416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3629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3299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3147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3373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3227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3081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293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2788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3081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3081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444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754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46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5561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489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458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3868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3963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424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352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172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3267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  <dgm:constr type="r" for="ch" forName="parTx7" refType="w" fact="0.3034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3129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r" for="ch" forName="desTx7" refType="l" refFor="ch" refForName="parTx7"/>
                  <dgm:constr type="l" for="ch" forName="desTx7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71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554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5756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5974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194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416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197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382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334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2734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2357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2184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2442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227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2108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1942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177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2108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2108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08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7194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r" for="ch" forName="parTx2" refType="w" fact="0.4828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4937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r" for="ch" forName="parTx3" refType="w" fact="0.371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3824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r" for="ch" forName="parTx4" refType="w" fact="0.3006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311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r" for="ch" forName="parTx5" refType="w" fact="0.2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2609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r" for="ch" forName="parTx6" refType="w" fact="0.2212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2321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r" for="ch" forName="parTx7" refType="w" fact="0.205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2164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else>
        </dgm:choose>
      </dgm:else>
    </dgm:choose>
    <dgm:forEach name="wrapper" axis="self" ptType="parTrans">
      <dgm:forEach name="wrapper2" axis="self" ptType="sibTrans" st="2">
        <dgm:forEach name="imageRepeat" axis="self">
          <dgm:layoutNode name="imageRepeat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 axis="self"/>
          </dgm:layoutNode>
        </dgm:forEach>
      </dgm:forEach>
    </dgm:forEach>
    <dgm:choose name="Name72">
      <dgm:if name="Name73" axis="ch" ptType="node" func="cnt" op="gte" val="2">
        <dgm:layoutNode name="do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4"/>
    </dgm:choose>
    <dgm:choose name="Name75">
      <dgm:if name="Name76" axis="ch" ptType="node" func="cnt" op="gte" val="3">
        <dgm:layoutNode name="do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7"/>
    </dgm:choose>
    <dgm:choose name="Name78">
      <dgm:if name="Name79" axis="ch" ptType="node" func="cnt" op="gte" val="4">
        <dgm:layoutNode name="do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0"/>
    </dgm:choose>
    <dgm:choose name="Name81">
      <dgm:if name="Name82" axis="ch" ptType="node" func="cnt" op="gte" val="5">
        <dgm:layoutNode name="do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3"/>
    </dgm:choose>
    <dgm:choose name="Name84">
      <dgm:if name="Name85" axis="ch" ptType="node" func="cnt" op="gte" val="6">
        <dgm:layoutNode name="do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6"/>
    </dgm:choose>
    <dgm:choose name="Name87">
      <dgm:if name="Name88" axis="ch" ptType="node" func="cnt" op="gte" val="7">
        <dgm:layoutNode name="dot1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9"/>
    </dgm:choose>
    <dgm:choose name="Name90">
      <dgm:if name="Name91" axis="ch" ptType="node" func="cnt" op="gte" val="2">
        <dgm:layoutNode name="dotArrow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92"/>
    </dgm:choose>
    <dgm:forEach name="Name93" axis="ch" ptType="node" cnt="1">
      <dgm:layoutNode name="parTx1">
        <dgm:choose name="Name94">
          <dgm:if name="Name95" func="var" arg="dir" op="equ" val="norm">
            <dgm:alg type="tx">
              <dgm:param type="parTxLTRAlign" val="l"/>
              <dgm:param type="parTxRTLAlign" val="r"/>
            </dgm:alg>
          </dgm:if>
          <dgm:else name="Name96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97">
          <dgm:if name="Name98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99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00">
        <dgm:if name="Name101" axis="ch" ptType="node" func="cnt" op="gte" val="1">
          <dgm:layoutNode name="desTx1" styleLbl="revTx">
            <dgm:varLst>
              <dgm:bulletEnabled val="1"/>
            </dgm:varLst>
            <dgm:choose name="Name102">
              <dgm:if name="Name103" func="var" arg="dir" op="equ" val="norm">
                <dgm:choose name="Name104">
                  <dgm:if name="Name105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06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07">
                <dgm:choose name="Name108">
                  <dgm:if name="Name109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10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11"/>
      </dgm:choose>
    </dgm:forEach>
    <dgm:forEach name="Name112" axis="ch" ptType="sibTrans" hideLastTrans="0" cnt="1">
      <dgm:layoutNode name="picture1">
        <dgm:alg type="sp"/>
        <dgm:shape xmlns:r="http://schemas.openxmlformats.org/officeDocument/2006/relationships" r:blip="">
          <dgm:adjLst/>
        </dgm:shape>
        <dgm:presOf/>
        <dgm:constrLst/>
        <dgm:forEach name="Name113" ref="imageRepeat"/>
      </dgm:layoutNode>
    </dgm:forEach>
    <dgm:forEach name="Name114" axis="ch" ptType="node" st="2" cnt="1">
      <dgm:layoutNode name="parTx2">
        <dgm:choose name="Name115">
          <dgm:if name="Name116" func="var" arg="dir" op="equ" val="norm">
            <dgm:alg type="tx">
              <dgm:param type="parTxLTRAlign" val="l"/>
              <dgm:param type="parTxRTLAlign" val="r"/>
            </dgm:alg>
          </dgm:if>
          <dgm:else name="Name117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18">
          <dgm:if name="Name119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20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21">
        <dgm:if name="Name122" axis="ch" ptType="node" func="cnt" op="gte" val="1">
          <dgm:layoutNode name="desTx2" styleLbl="revTx">
            <dgm:varLst>
              <dgm:bulletEnabled val="1"/>
            </dgm:varLst>
            <dgm:choose name="Name123">
              <dgm:if name="Name124" func="var" arg="dir" op="equ" val="norm">
                <dgm:choose name="Name125">
                  <dgm:if name="Name126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27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28">
                <dgm:choose name="Name129">
                  <dgm:if name="Name130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31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32"/>
      </dgm:choose>
    </dgm:forEach>
    <dgm:forEach name="Name133" axis="ch" ptType="sibTrans" hideLastTrans="0" st="2" cnt="1">
      <dgm:layoutNode name="picture2">
        <dgm:alg type="sp"/>
        <dgm:shape xmlns:r="http://schemas.openxmlformats.org/officeDocument/2006/relationships" r:blip="">
          <dgm:adjLst/>
        </dgm:shape>
        <dgm:presOf/>
        <dgm:constrLst/>
        <dgm:forEach name="Name134" ref="imageRepeat"/>
      </dgm:layoutNode>
    </dgm:forEach>
    <dgm:forEach name="Name135" axis="ch" ptType="node" st="3" cnt="1">
      <dgm:layoutNode name="parTx3">
        <dgm:choose name="Name136">
          <dgm:if name="Name137" func="var" arg="dir" op="equ" val="norm">
            <dgm:alg type="tx">
              <dgm:param type="parTxLTRAlign" val="l"/>
              <dgm:param type="parTxRTLAlign" val="r"/>
            </dgm:alg>
          </dgm:if>
          <dgm:else name="Name138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39">
          <dgm:if name="Name140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41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42">
        <dgm:if name="Name143" axis="ch" ptType="node" func="cnt" op="gte" val="1">
          <dgm:layoutNode name="desTx3" styleLbl="revTx">
            <dgm:varLst>
              <dgm:bulletEnabled val="1"/>
            </dgm:varLst>
            <dgm:choose name="Name144">
              <dgm:if name="Name145" func="var" arg="dir" op="equ" val="norm">
                <dgm:choose name="Name146">
                  <dgm:if name="Name147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48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49">
                <dgm:choose name="Name150">
                  <dgm:if name="Name151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5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53"/>
      </dgm:choose>
    </dgm:forEach>
    <dgm:forEach name="Name154" axis="ch" ptType="sibTrans" hideLastTrans="0" st="3" cnt="1">
      <dgm:layoutNode name="picture3">
        <dgm:alg type="sp"/>
        <dgm:shape xmlns:r="http://schemas.openxmlformats.org/officeDocument/2006/relationships" r:blip="">
          <dgm:adjLst/>
        </dgm:shape>
        <dgm:presOf/>
        <dgm:constrLst/>
        <dgm:forEach name="Name155" ref="imageRepeat"/>
      </dgm:layoutNode>
    </dgm:forEach>
    <dgm:forEach name="Name156" axis="ch" ptType="node" st="4" cnt="1">
      <dgm:layoutNode name="parTx4">
        <dgm:choose name="Name157">
          <dgm:if name="Name158" func="var" arg="dir" op="equ" val="norm">
            <dgm:alg type="tx">
              <dgm:param type="parTxLTRAlign" val="l"/>
              <dgm:param type="parTxRTLAlign" val="r"/>
            </dgm:alg>
          </dgm:if>
          <dgm:else name="Name159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60">
          <dgm:if name="Name161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62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63">
        <dgm:if name="Name164" axis="ch" ptType="node" func="cnt" op="gte" val="1">
          <dgm:layoutNode name="desTx4" styleLbl="revTx">
            <dgm:varLst>
              <dgm:bulletEnabled val="1"/>
            </dgm:varLst>
            <dgm:choose name="Name165">
              <dgm:if name="Name166" func="var" arg="dir" op="equ" val="norm">
                <dgm:choose name="Name167">
                  <dgm:if name="Name168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69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70">
                <dgm:choose name="Name171">
                  <dgm:if name="Name172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73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74"/>
      </dgm:choose>
    </dgm:forEach>
    <dgm:forEach name="Name175" axis="ch" ptType="sibTrans" hideLastTrans="0" st="4" cnt="1">
      <dgm:layoutNode name="picture4">
        <dgm:alg type="sp"/>
        <dgm:shape xmlns:r="http://schemas.openxmlformats.org/officeDocument/2006/relationships" r:blip="">
          <dgm:adjLst/>
        </dgm:shape>
        <dgm:presOf/>
        <dgm:constrLst/>
        <dgm:forEach name="Name176" ref="imageRepeat"/>
      </dgm:layoutNode>
    </dgm:forEach>
    <dgm:forEach name="Name177" axis="ch" ptType="node" st="5" cnt="1">
      <dgm:layoutNode name="parTx5">
        <dgm:choose name="Name178">
          <dgm:if name="Name179" func="var" arg="dir" op="equ" val="norm">
            <dgm:alg type="tx">
              <dgm:param type="parTxLTRAlign" val="l"/>
              <dgm:param type="parTxRTLAlign" val="r"/>
            </dgm:alg>
          </dgm:if>
          <dgm:else name="Name180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81">
          <dgm:if name="Name182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83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84">
        <dgm:if name="Name185" axis="ch" ptType="node" func="cnt" op="gte" val="1">
          <dgm:layoutNode name="desTx5" styleLbl="revTx">
            <dgm:varLst>
              <dgm:bulletEnabled val="1"/>
            </dgm:varLst>
            <dgm:choose name="Name186">
              <dgm:if name="Name187" func="var" arg="dir" op="equ" val="norm">
                <dgm:choose name="Name188">
                  <dgm:if name="Name189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90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91">
                <dgm:choose name="Name192">
                  <dgm:if name="Name193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94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95"/>
      </dgm:choose>
    </dgm:forEach>
    <dgm:forEach name="Name196" axis="ch" ptType="sibTrans" hideLastTrans="0" st="5" cnt="1">
      <dgm:layoutNode name="picture5">
        <dgm:alg type="sp"/>
        <dgm:shape xmlns:r="http://schemas.openxmlformats.org/officeDocument/2006/relationships" r:blip="">
          <dgm:adjLst/>
        </dgm:shape>
        <dgm:presOf/>
        <dgm:constrLst/>
        <dgm:forEach name="Name197" ref="imageRepeat"/>
      </dgm:layoutNode>
    </dgm:forEach>
    <dgm:forEach name="Name198" axis="ch" ptType="node" st="6" cnt="1">
      <dgm:layoutNode name="parTx6">
        <dgm:choose name="Name199">
          <dgm:if name="Name200" func="var" arg="dir" op="equ" val="norm">
            <dgm:alg type="tx">
              <dgm:param type="parTxLTRAlign" val="l"/>
              <dgm:param type="parTxRTLAlign" val="r"/>
            </dgm:alg>
          </dgm:if>
          <dgm:else name="Name201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02">
          <dgm:if name="Name203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04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05">
        <dgm:if name="Name206" axis="ch" ptType="node" func="cnt" op="gte" val="1">
          <dgm:layoutNode name="desTx6" styleLbl="revTx">
            <dgm:varLst>
              <dgm:bulletEnabled val="1"/>
            </dgm:varLst>
            <dgm:choose name="Name207">
              <dgm:if name="Name208" func="var" arg="dir" op="equ" val="norm">
                <dgm:choose name="Name209">
                  <dgm:if name="Name210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11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12">
                <dgm:choose name="Name213">
                  <dgm:if name="Name214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15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16"/>
      </dgm:choose>
    </dgm:forEach>
    <dgm:forEach name="Name217" axis="ch" ptType="sibTrans" hideLastTrans="0" st="6" cnt="1">
      <dgm:layoutNode name="picture6">
        <dgm:alg type="sp"/>
        <dgm:shape xmlns:r="http://schemas.openxmlformats.org/officeDocument/2006/relationships" r:blip="">
          <dgm:adjLst/>
        </dgm:shape>
        <dgm:presOf/>
        <dgm:constrLst/>
        <dgm:forEach name="Name218" ref="imageRepeat"/>
      </dgm:layoutNode>
    </dgm:forEach>
    <dgm:forEach name="Name219" axis="ch" ptType="node" st="7" cnt="1">
      <dgm:layoutNode name="parTx7">
        <dgm:choose name="Name220">
          <dgm:if name="Name221" func="var" arg="dir" op="equ" val="norm">
            <dgm:alg type="tx">
              <dgm:param type="parTxLTRAlign" val="l"/>
              <dgm:param type="parTxRTLAlign" val="r"/>
            </dgm:alg>
          </dgm:if>
          <dgm:else name="Name222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23">
          <dgm:if name="Name224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25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26">
        <dgm:if name="Name227" axis="ch" ptType="node" func="cnt" op="gte" val="1">
          <dgm:layoutNode name="desTx7" styleLbl="revTx">
            <dgm:varLst>
              <dgm:bulletEnabled val="1"/>
            </dgm:varLst>
            <dgm:choose name="Name228">
              <dgm:if name="Name229" func="var" arg="dir" op="equ" val="norm">
                <dgm:choose name="Name230">
                  <dgm:if name="Name231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32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33">
                <dgm:choose name="Name234">
                  <dgm:if name="Name235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36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37"/>
      </dgm:choose>
    </dgm:forEach>
    <dgm:forEach name="Name238" axis="ch" ptType="sibTrans" hideLastTrans="0" st="7" cnt="1">
      <dgm:layoutNode name="picture7">
        <dgm:alg type="sp"/>
        <dgm:shape xmlns:r="http://schemas.openxmlformats.org/officeDocument/2006/relationships" r:blip="">
          <dgm:adjLst/>
        </dgm:shape>
        <dgm:presOf/>
        <dgm:constrLst/>
        <dgm:forEach name="Name239" ref="imageRepeat"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pPr/>
              <a:t>3/16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pPr/>
              <a:t>3/16/2017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pPr/>
              <a:t>3/16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pPr/>
              <a:t>3/16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3/16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3/16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3/16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3/16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3/16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3/16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3/16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3/16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pPr/>
              <a:t>3/16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3/16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3/16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3/16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pPr/>
              <a:t>3/16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pPr/>
              <a:t>3/16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pPr/>
              <a:t>3/16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pPr/>
              <a:t>3/16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pPr/>
              <a:t>3/16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pPr/>
              <a:t>3/16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pPr/>
              <a:t>3/16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pPr/>
              <a:t>3/16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March 16, 2017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Author%20form.PNG" TargetMode="External"/><Relationship Id="rId2" Type="http://schemas.openxmlformats.org/officeDocument/2006/relationships/slide" Target="slide5.xml"/><Relationship Id="rId1" Type="http://schemas.openxmlformats.org/officeDocument/2006/relationships/slideLayout" Target="../slideLayouts/slideLayout13.xml"/><Relationship Id="rId4" Type="http://schemas.openxmlformats.org/officeDocument/2006/relationships/hyperlink" Target="book%20master.PNG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END%20OF%20THE%20REPORT.pdf" TargetMode="External"/><Relationship Id="rId3" Type="http://schemas.openxmlformats.org/officeDocument/2006/relationships/hyperlink" Target="../Users/sbotta/Pictures/XML%20file.jpg" TargetMode="External"/><Relationship Id="rId7" Type="http://schemas.openxmlformats.org/officeDocument/2006/relationships/hyperlink" Target="No%20DATA%20FOUND.pdf" TargetMode="External"/><Relationship Id="rId2" Type="http://schemas.openxmlformats.org/officeDocument/2006/relationships/slide" Target="slide5.xml"/><Relationship Id="rId1" Type="http://schemas.openxmlformats.org/officeDocument/2006/relationships/slideLayout" Target="../slideLayouts/slideLayout13.xml"/><Relationship Id="rId6" Type="http://schemas.openxmlformats.org/officeDocument/2006/relationships/hyperlink" Target="output.pdf" TargetMode="External"/><Relationship Id="rId5" Type="http://schemas.openxmlformats.org/officeDocument/2006/relationships/hyperlink" Target="XXPATNI_REPORT_SRP.rtf" TargetMode="External"/><Relationship Id="rId4" Type="http://schemas.openxmlformats.org/officeDocument/2006/relationships/hyperlink" Target="Report%20Files.doc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" Target="slide5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futurescope.PNG" TargetMode="Externa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" Target="slide3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image" Target="../media/image11.png"/><Relationship Id="rId2" Type="http://schemas.openxmlformats.org/officeDocument/2006/relationships/slide" Target="slide3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10.png"/><Relationship Id="rId5" Type="http://schemas.openxmlformats.org/officeDocument/2006/relationships/diagramQuickStyle" Target="../diagrams/quickStyle2.xml"/><Relationship Id="rId10" Type="http://schemas.openxmlformats.org/officeDocument/2006/relationships/image" Target="../media/image9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" Target="slide5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hyperlink" Target="MiniProject/ppt%20folder/Error%20Table.txt" TargetMode="External"/><Relationship Id="rId7" Type="http://schemas.openxmlformats.org/officeDocument/2006/relationships/hyperlink" Target="MiniProject/ppt%20folder/Book%20Master%20Table.txt" TargetMode="External"/><Relationship Id="rId2" Type="http://schemas.openxmlformats.org/officeDocument/2006/relationships/slide" Target="slide5.xml"/><Relationship Id="rId1" Type="http://schemas.openxmlformats.org/officeDocument/2006/relationships/slideLayout" Target="../slideLayouts/slideLayout13.xml"/><Relationship Id="rId6" Type="http://schemas.openxmlformats.org/officeDocument/2006/relationships/hyperlink" Target="MiniProject/ppt%20folder/Author%20Master%20Table.txt" TargetMode="External"/><Relationship Id="rId5" Type="http://schemas.openxmlformats.org/officeDocument/2006/relationships/hyperlink" Target="MiniProject/ppt%20folder/Author%20Staging%20Table.txt" TargetMode="External"/><Relationship Id="rId4" Type="http://schemas.openxmlformats.org/officeDocument/2006/relationships/hyperlink" Target="MiniProject/ppt%20folder/Book%20Staging%20Table.txt" TargetMode="External"/><Relationship Id="rId9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Authors%20Data.png" TargetMode="External"/><Relationship Id="rId2" Type="http://schemas.openxmlformats.org/officeDocument/2006/relationships/hyperlink" Target="Authors%20Control.png" TargetMode="External"/><Relationship Id="rId1" Type="http://schemas.openxmlformats.org/officeDocument/2006/relationships/slideLayout" Target="../slideLayouts/slideLayout13.xml"/><Relationship Id="rId5" Type="http://schemas.openxmlformats.org/officeDocument/2006/relationships/hyperlink" Target="Books%20Data%20Sample.png" TargetMode="External"/><Relationship Id="rId4" Type="http://schemas.openxmlformats.org/officeDocument/2006/relationships/hyperlink" Target="books%20Control.png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slide" Target="slide5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40000">
              <a:schemeClr val="bg1">
                <a:tint val="80000"/>
                <a:satMod val="250000"/>
                <a:lumMod val="100000"/>
              </a:schemeClr>
            </a:gs>
            <a:gs pos="76000">
              <a:schemeClr val="bg1">
                <a:tint val="90000"/>
                <a:shade val="90000"/>
                <a:satMod val="200000"/>
              </a:schemeClr>
            </a:gs>
            <a:gs pos="92000">
              <a:schemeClr val="bg1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549" y="5242933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-101950" y="67271"/>
            <a:ext cx="8706398" cy="76944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400" dirty="0" smtClean="0">
                <a:ln w="0"/>
                <a:solidFill>
                  <a:srgbClr val="0070C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ndara" panose="020E0502030303020204" pitchFamily="34" charset="0"/>
              </a:rPr>
              <a:t>Book Management System</a:t>
            </a:r>
            <a:endParaRPr lang="en-US" sz="4400" b="0" cap="none" spc="0" dirty="0">
              <a:ln w="0"/>
              <a:solidFill>
                <a:srgbClr val="0070C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pic>
        <p:nvPicPr>
          <p:cNvPr id="1026" name="Picture 2" descr=" 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124744"/>
            <a:ext cx="8568952" cy="4392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orms</a:t>
            </a:r>
            <a:endParaRPr lang="en-US" b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Right Arrow 5">
            <a:hlinkClick r:id="rId2" action="ppaction://hlinksldjump"/>
          </p:cNvPr>
          <p:cNvSpPr/>
          <p:nvPr/>
        </p:nvSpPr>
        <p:spPr>
          <a:xfrm>
            <a:off x="8534400" y="5928517"/>
            <a:ext cx="323850" cy="334964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val 1"/>
          <p:cNvSpPr/>
          <p:nvPr/>
        </p:nvSpPr>
        <p:spPr>
          <a:xfrm>
            <a:off x="3707904" y="1340767"/>
            <a:ext cx="1746440" cy="1321559"/>
          </a:xfrm>
          <a:prstGeom prst="ellipse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M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Oval 4"/>
          <p:cNvSpPr/>
          <p:nvPr/>
        </p:nvSpPr>
        <p:spPr>
          <a:xfrm>
            <a:off x="1210108" y="3192218"/>
            <a:ext cx="2445016" cy="1829850"/>
          </a:xfrm>
          <a:prstGeom prst="ellipse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3" action="ppaction://hlinkfile"/>
              </a:rPr>
              <a:t>AUTHOR’S FORM</a:t>
            </a:r>
            <a:endParaRPr lang="en-US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5580112" y="3284984"/>
            <a:ext cx="2304256" cy="1728192"/>
          </a:xfrm>
          <a:prstGeom prst="ellipse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4" action="ppaction://hlinkfile"/>
              </a:rPr>
              <a:t>BOOK MASTER FORM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8" name="Straight Arrow Connector 7"/>
          <p:cNvCxnSpPr>
            <a:stCxn id="2" idx="3"/>
            <a:endCxn id="5" idx="7"/>
          </p:cNvCxnSpPr>
          <p:nvPr/>
        </p:nvCxnSpPr>
        <p:spPr>
          <a:xfrm flipH="1">
            <a:off x="3297060" y="2468788"/>
            <a:ext cx="666604" cy="99140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>
            <a:stCxn id="2" idx="5"/>
            <a:endCxn id="7" idx="1"/>
          </p:cNvCxnSpPr>
          <p:nvPr/>
        </p:nvCxnSpPr>
        <p:spPr>
          <a:xfrm>
            <a:off x="5198584" y="2468788"/>
            <a:ext cx="718978" cy="106928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429555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ports</a:t>
            </a:r>
            <a:endParaRPr lang="en-US" b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Right Arrow 5">
            <a:hlinkClick r:id="rId2" action="ppaction://hlinksldjump"/>
          </p:cNvPr>
          <p:cNvSpPr/>
          <p:nvPr/>
        </p:nvSpPr>
        <p:spPr>
          <a:xfrm>
            <a:off x="8534400" y="5928517"/>
            <a:ext cx="323850" cy="334964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val 1">
            <a:hlinkClick r:id="rId3" action="ppaction://hlinkfile"/>
          </p:cNvPr>
          <p:cNvSpPr/>
          <p:nvPr/>
        </p:nvSpPr>
        <p:spPr>
          <a:xfrm>
            <a:off x="1403648" y="2078637"/>
            <a:ext cx="2448272" cy="975586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ML file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Oval 4">
            <a:hlinkClick r:id="rId4" action="ppaction://hlinkfile"/>
          </p:cNvPr>
          <p:cNvSpPr/>
          <p:nvPr/>
        </p:nvSpPr>
        <p:spPr>
          <a:xfrm>
            <a:off x="539552" y="1052736"/>
            <a:ext cx="2448272" cy="975586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 MODEL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3491880" y="4365104"/>
            <a:ext cx="2448272" cy="1105664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NERATED REPORT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Oval 7">
            <a:hlinkClick r:id="rId5" action="ppaction://hlinkfile"/>
          </p:cNvPr>
          <p:cNvSpPr/>
          <p:nvPr/>
        </p:nvSpPr>
        <p:spPr>
          <a:xfrm>
            <a:off x="2483768" y="3086686"/>
            <a:ext cx="2448272" cy="975586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TF file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Oval 8">
            <a:hlinkClick r:id="rId6" action="ppaction://hlinkfile"/>
          </p:cNvPr>
          <p:cNvSpPr/>
          <p:nvPr/>
        </p:nvSpPr>
        <p:spPr>
          <a:xfrm>
            <a:off x="6409978" y="2529159"/>
            <a:ext cx="2448272" cy="975586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TPUT FILE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Oval 9">
            <a:hlinkClick r:id="rId7" action="ppaction://hlinkfile"/>
          </p:cNvPr>
          <p:cNvSpPr/>
          <p:nvPr/>
        </p:nvSpPr>
        <p:spPr>
          <a:xfrm>
            <a:off x="6409978" y="3717032"/>
            <a:ext cx="2448272" cy="975586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 Data Found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Oval 10">
            <a:hlinkClick r:id="rId8" action="ppaction://hlinkfile"/>
          </p:cNvPr>
          <p:cNvSpPr/>
          <p:nvPr/>
        </p:nvSpPr>
        <p:spPr>
          <a:xfrm>
            <a:off x="6409978" y="4797152"/>
            <a:ext cx="2448272" cy="975586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d Of The Report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2" name="Elbow Connector 11"/>
          <p:cNvCxnSpPr>
            <a:stCxn id="7" idx="6"/>
            <a:endCxn id="9" idx="2"/>
          </p:cNvCxnSpPr>
          <p:nvPr/>
        </p:nvCxnSpPr>
        <p:spPr>
          <a:xfrm flipV="1">
            <a:off x="5940152" y="3016952"/>
            <a:ext cx="469826" cy="1900984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13"/>
          <p:cNvCxnSpPr>
            <a:stCxn id="7" idx="6"/>
            <a:endCxn id="11" idx="2"/>
          </p:cNvCxnSpPr>
          <p:nvPr/>
        </p:nvCxnSpPr>
        <p:spPr>
          <a:xfrm>
            <a:off x="5940152" y="4917936"/>
            <a:ext cx="469826" cy="367009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endCxn id="10" idx="2"/>
          </p:cNvCxnSpPr>
          <p:nvPr/>
        </p:nvCxnSpPr>
        <p:spPr>
          <a:xfrm>
            <a:off x="6175065" y="4204825"/>
            <a:ext cx="234913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869343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racle Application</a:t>
            </a:r>
            <a:endParaRPr lang="en-US" b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Right Arrow 5">
            <a:hlinkClick r:id="rId2" action="ppaction://hlinksldjump"/>
          </p:cNvPr>
          <p:cNvSpPr/>
          <p:nvPr/>
        </p:nvSpPr>
        <p:spPr>
          <a:xfrm>
            <a:off x="8460432" y="5928517"/>
            <a:ext cx="397818" cy="334964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1051717" y="1628800"/>
            <a:ext cx="6112571" cy="2345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orm registratio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reate a function for the form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ssign the function to the Custom Menu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ustom Menu should be assigned to the Responsibility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ssign the responsibility to the TEST USER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203259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u="sng" dirty="0" smtClean="0"/>
              <a:t>Conclusion  </a:t>
            </a:r>
            <a:endParaRPr lang="en-US" b="1" u="sng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50000"/>
              </a:lnSpc>
              <a:buClrTx/>
              <a:buNone/>
            </a:pPr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From this project we conclude that a Book management system is built and all the required problem statements have been solved.</a:t>
            </a:r>
          </a:p>
          <a:p>
            <a:pPr>
              <a:buClrTx/>
            </a:pPr>
            <a:endParaRPr lang="en-US" b="0" dirty="0" smtClean="0">
              <a:solidFill>
                <a:schemeClr val="tx1"/>
              </a:solidFill>
            </a:endParaRPr>
          </a:p>
          <a:p>
            <a:pPr>
              <a:buClrTx/>
              <a:buNone/>
            </a:pPr>
            <a:r>
              <a:rPr lang="en-US" b="0" dirty="0" smtClean="0">
                <a:solidFill>
                  <a:schemeClr val="tx1"/>
                </a:solidFill>
              </a:rPr>
              <a:t> </a:t>
            </a:r>
            <a:endParaRPr lang="en-US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995500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ture Scop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39341"/>
            <a:ext cx="8229600" cy="4525963"/>
          </a:xfrm>
        </p:spPr>
        <p:txBody>
          <a:bodyPr>
            <a:normAutofit/>
          </a:bodyPr>
          <a:lstStyle/>
          <a:p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-Filtration Based on book-type using Check-Boxes.  </a:t>
            </a:r>
            <a:endParaRPr lang="en-US" sz="20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Rounded Rectangle 4">
            <a:hlinkClick r:id="rId2" action="ppaction://hlinkfile"/>
          </p:cNvPr>
          <p:cNvSpPr/>
          <p:nvPr/>
        </p:nvSpPr>
        <p:spPr>
          <a:xfrm>
            <a:off x="3249455" y="3104964"/>
            <a:ext cx="2808312" cy="93610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orm With Check-Box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688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33126" y="2967335"/>
            <a:ext cx="327775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Candara" panose="020E0502030303020204" pitchFamily="34" charset="0"/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3556634"/>
              </p:ext>
            </p:extLst>
          </p:nvPr>
        </p:nvGraphicFramePr>
        <p:xfrm>
          <a:off x="467544" y="1556792"/>
          <a:ext cx="8199300" cy="49612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49825"/>
                <a:gridCol w="2049825"/>
                <a:gridCol w="2049825"/>
                <a:gridCol w="2049825"/>
              </a:tblGrid>
              <a:tr h="399821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MPLOYEE_ID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ME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OLE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NTRIBUTION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</a:tr>
              <a:tr h="399821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111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.V.B.Sravya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roup</a:t>
                      </a:r>
                      <a:r>
                        <a:rPr lang="en-US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Lead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eports,Validations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</a:tr>
              <a:tr h="399821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205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ai </a:t>
                      </a:r>
                      <a:r>
                        <a:rPr lang="en-US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rathap</a:t>
                      </a:r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Reddy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eam Member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QL </a:t>
                      </a:r>
                      <a:r>
                        <a:rPr lang="en-US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oader,Oracle</a:t>
                      </a:r>
                      <a:r>
                        <a:rPr lang="en-US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Applications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</a:tr>
              <a:tr h="655679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331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ai Priyanka </a:t>
                      </a:r>
                      <a:r>
                        <a:rPr lang="en-US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otta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</a:txBody>
                  <a:tcPr marL="9525" marR="9525" marT="9525" marB="0" anchor="ctr"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eam Member</a:t>
                      </a:r>
                    </a:p>
                  </a:txBody>
                  <a:tcP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orms,PPT</a:t>
                      </a:r>
                      <a:endParaRPr lang="en-US" sz="18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</a:tr>
              <a:tr h="655679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324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antosh </a:t>
                      </a:r>
                      <a:r>
                        <a:rPr lang="en-US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Jayendra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Sai </a:t>
                      </a:r>
                      <a:r>
                        <a:rPr lang="en-US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ama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</a:txBody>
                  <a:tcPr marL="9525" marR="9525" marT="9525" marB="0" anchor="ctr"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eam Member</a:t>
                      </a:r>
                    </a:p>
                  </a:txBody>
                  <a:tcP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able </a:t>
                      </a:r>
                      <a:r>
                        <a:rPr lang="en-US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cripts,Reports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</a:tr>
              <a:tr h="655679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323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athish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Kumar Reddy </a:t>
                      </a:r>
                      <a:r>
                        <a:rPr lang="en-US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gidi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eam Member</a:t>
                      </a:r>
                    </a:p>
                  </a:txBody>
                  <a:tcP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alidations, Forms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</a:tr>
              <a:tr h="610144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366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reeramoju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Sai </a:t>
                      </a:r>
                      <a:r>
                        <a:rPr lang="en-US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athan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eam Member</a:t>
                      </a:r>
                    </a:p>
                  </a:txBody>
                  <a:tcP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Forms, Oracle Application, Validations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</a:tr>
              <a:tr h="399821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256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andhya Chauhan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eam</a:t>
                      </a:r>
                      <a:r>
                        <a:rPr lang="en-US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Member</a:t>
                      </a:r>
                      <a:endParaRPr lang="en-US" sz="18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eports,Oracle</a:t>
                      </a:r>
                      <a:r>
                        <a:rPr lang="en-US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Applications</a:t>
                      </a:r>
                      <a:endParaRPr lang="en-US" sz="180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9900"/>
                    </a:solidFill>
                  </a:tcPr>
                </a:tc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755576" y="764704"/>
            <a:ext cx="7920880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000" b="1" dirty="0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Group</a:t>
            </a:r>
            <a:r>
              <a:rPr lang="en-US" sz="2000" b="1" cap="none" spc="0" dirty="0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-6</a:t>
            </a:r>
            <a:r>
              <a:rPr lang="en-US" sz="2000" b="0" cap="none" spc="0" dirty="0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ctr"/>
            <a:r>
              <a:rPr lang="en-US" sz="2000" dirty="0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Mentor- </a:t>
            </a:r>
            <a:r>
              <a:rPr lang="en-US" sz="2000" dirty="0" err="1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Sachin</a:t>
            </a:r>
            <a:r>
              <a:rPr lang="en-US" sz="2000" dirty="0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 err="1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Narendekar</a:t>
            </a:r>
            <a:r>
              <a:rPr lang="en-US" sz="2000" dirty="0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Trainer – Nakul </a:t>
            </a:r>
            <a:r>
              <a:rPr lang="en-US" sz="2000" dirty="0" err="1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Venkatraman</a:t>
            </a:r>
            <a:endParaRPr lang="en-US" sz="2000" b="0" cap="none" spc="0" dirty="0">
              <a:ln w="0"/>
              <a:solidFill>
                <a:schemeClr val="accent3">
                  <a:lumMod val="5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704639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CONTENTS</a:t>
            </a:r>
            <a:endParaRPr lang="en-US" b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1389950843"/>
              </p:ext>
            </p:extLst>
          </p:nvPr>
        </p:nvGraphicFramePr>
        <p:xfrm>
          <a:off x="395536" y="1196752"/>
          <a:ext cx="8496944" cy="4824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2382166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4627240" cy="792162"/>
          </a:xfrm>
        </p:spPr>
        <p:txBody>
          <a:bodyPr/>
          <a:lstStyle/>
          <a:p>
            <a:r>
              <a:rPr lang="en-US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troduction</a:t>
            </a:r>
            <a:endParaRPr lang="en-US" b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74848" y="1279301"/>
            <a:ext cx="8229600" cy="4525963"/>
          </a:xfrm>
        </p:spPr>
        <p:txBody>
          <a:bodyPr>
            <a:normAutofit/>
          </a:bodyPr>
          <a:lstStyle/>
          <a:p>
            <a:pPr>
              <a:buClrTx/>
              <a:buNone/>
            </a:pPr>
            <a:endParaRPr lang="en-US" b="0" dirty="0" smtClean="0">
              <a:solidFill>
                <a:schemeClr val="tx1"/>
              </a:solidFill>
            </a:endParaRPr>
          </a:p>
          <a:p>
            <a:pPr marL="0" indent="0">
              <a:buClrTx/>
              <a:buNone/>
            </a:pPr>
            <a:endParaRPr lang="en-US" b="0" dirty="0" smtClean="0">
              <a:solidFill>
                <a:schemeClr val="tx1"/>
              </a:solidFill>
            </a:endParaRPr>
          </a:p>
          <a:p>
            <a:pPr marL="0" indent="0">
              <a:buClrTx/>
              <a:buNone/>
            </a:pP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7" name="Right Arrow 6">
            <a:hlinkClick r:id="rId2" action="ppaction://hlinksldjump"/>
          </p:cNvPr>
          <p:cNvSpPr/>
          <p:nvPr/>
        </p:nvSpPr>
        <p:spPr>
          <a:xfrm>
            <a:off x="7956376" y="5805264"/>
            <a:ext cx="722040" cy="320898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467544" y="1484784"/>
            <a:ext cx="7632848" cy="4370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The main objective is developing </a:t>
            </a:r>
            <a:r>
              <a:rPr lang="en-US" dirty="0"/>
              <a:t>a </a:t>
            </a:r>
            <a:r>
              <a:rPr lang="en-US" u="sng" dirty="0"/>
              <a:t>Book Management </a:t>
            </a:r>
            <a:r>
              <a:rPr lang="en-US" u="sng" dirty="0" smtClean="0"/>
              <a:t>System</a:t>
            </a:r>
            <a:r>
              <a:rPr lang="en-US" dirty="0" smtClean="0"/>
              <a:t> </a:t>
            </a:r>
            <a:r>
              <a:rPr lang="en-US" dirty="0"/>
              <a:t>for the Company ‘</a:t>
            </a:r>
            <a:r>
              <a:rPr lang="en-US" u="sng" dirty="0"/>
              <a:t>ABC Computers</a:t>
            </a:r>
            <a:r>
              <a:rPr lang="en-US" dirty="0"/>
              <a:t>’.</a:t>
            </a:r>
            <a:endParaRPr lang="en-US" dirty="0" smtClean="0"/>
          </a:p>
          <a:p>
            <a:pPr marL="45720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n-US" dirty="0" smtClean="0"/>
          </a:p>
          <a:p>
            <a:pPr marL="45720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u="sng" dirty="0"/>
              <a:t>Purpose</a:t>
            </a:r>
            <a:r>
              <a:rPr lang="en-US" dirty="0"/>
              <a:t> of this system is to:</a:t>
            </a:r>
          </a:p>
          <a:p>
            <a:pPr marL="1371600" lvl="6" indent="-342900">
              <a:spcBef>
                <a:spcPts val="600"/>
              </a:spcBef>
              <a:spcAft>
                <a:spcPts val="600"/>
              </a:spcAft>
              <a:buFont typeface="+mj-lt"/>
              <a:buAutoNum type="alphaLcPeriod"/>
            </a:pPr>
            <a:r>
              <a:rPr lang="en-US" dirty="0" smtClean="0"/>
              <a:t>Search </a:t>
            </a:r>
            <a:r>
              <a:rPr lang="en-US" dirty="0"/>
              <a:t>for Books</a:t>
            </a:r>
          </a:p>
          <a:p>
            <a:pPr marL="1371600" lvl="6" indent="-342900">
              <a:spcBef>
                <a:spcPts val="600"/>
              </a:spcBef>
              <a:spcAft>
                <a:spcPts val="600"/>
              </a:spcAft>
              <a:buFont typeface="+mj-lt"/>
              <a:buAutoNum type="alphaLcPeriod"/>
            </a:pPr>
            <a:r>
              <a:rPr lang="en-US" dirty="0" smtClean="0"/>
              <a:t>Add </a:t>
            </a:r>
            <a:r>
              <a:rPr lang="en-US" dirty="0"/>
              <a:t>the Books</a:t>
            </a:r>
          </a:p>
          <a:p>
            <a:pPr marL="1371600" lvl="6" indent="-342900">
              <a:spcBef>
                <a:spcPts val="600"/>
              </a:spcBef>
              <a:spcAft>
                <a:spcPts val="600"/>
              </a:spcAft>
              <a:buFont typeface="+mj-lt"/>
              <a:buAutoNum type="alphaLcPeriod"/>
            </a:pPr>
            <a:r>
              <a:rPr lang="en-US" dirty="0" smtClean="0"/>
              <a:t>Add </a:t>
            </a:r>
            <a:r>
              <a:rPr lang="en-US" dirty="0"/>
              <a:t>the </a:t>
            </a:r>
            <a:r>
              <a:rPr lang="en-US" dirty="0" smtClean="0"/>
              <a:t>Authors</a:t>
            </a:r>
            <a:endParaRPr lang="en-US" dirty="0"/>
          </a:p>
          <a:p>
            <a:pPr marL="1371600" lvl="6" indent="-342900">
              <a:spcBef>
                <a:spcPts val="600"/>
              </a:spcBef>
              <a:spcAft>
                <a:spcPts val="600"/>
              </a:spcAft>
              <a:buFont typeface="+mj-lt"/>
              <a:buAutoNum type="alphaLcPeriod"/>
            </a:pPr>
            <a:r>
              <a:rPr lang="en-US" dirty="0" smtClean="0"/>
              <a:t>Remove </a:t>
            </a:r>
            <a:r>
              <a:rPr lang="en-US" dirty="0"/>
              <a:t>the </a:t>
            </a:r>
            <a:r>
              <a:rPr lang="en-US" dirty="0" smtClean="0"/>
              <a:t>Books</a:t>
            </a:r>
            <a:endParaRPr lang="en-US" dirty="0"/>
          </a:p>
          <a:p>
            <a:pPr marL="45720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n-US" dirty="0" smtClean="0"/>
          </a:p>
          <a:p>
            <a:pPr marL="45720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102151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ORK FLOW OF THE PROJECT</a:t>
            </a:r>
            <a:endParaRPr lang="en-US" b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ight Arrow 3">
            <a:hlinkClick r:id="rId2" action="ppaction://hlinksldjump"/>
          </p:cNvPr>
          <p:cNvSpPr/>
          <p:nvPr/>
        </p:nvSpPr>
        <p:spPr>
          <a:xfrm>
            <a:off x="8421960" y="5611504"/>
            <a:ext cx="465584" cy="409784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41299946"/>
              </p:ext>
            </p:extLst>
          </p:nvPr>
        </p:nvGraphicFramePr>
        <p:xfrm>
          <a:off x="40432" y="908720"/>
          <a:ext cx="8492008" cy="56166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5716423"/>
            <a:ext cx="769348" cy="736913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5150637"/>
            <a:ext cx="792088" cy="726635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11" t="15999" r="19161" b="20388"/>
          <a:stretch/>
        </p:blipFill>
        <p:spPr bwMode="auto">
          <a:xfrm>
            <a:off x="4902944" y="1484784"/>
            <a:ext cx="763892" cy="801383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06" t="2861" r="24099" b="34379"/>
          <a:stretch/>
        </p:blipFill>
        <p:spPr bwMode="auto">
          <a:xfrm>
            <a:off x="4802652" y="2450479"/>
            <a:ext cx="705452" cy="739867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984" y="3429000"/>
            <a:ext cx="725316" cy="725316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936" y="4365104"/>
            <a:ext cx="720080" cy="72008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493807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 Analysis </a:t>
            </a:r>
            <a:endParaRPr lang="en-US" b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Right Arrow 5">
            <a:hlinkClick r:id="rId2" action="ppaction://hlinksldjump"/>
          </p:cNvPr>
          <p:cNvSpPr/>
          <p:nvPr/>
        </p:nvSpPr>
        <p:spPr>
          <a:xfrm>
            <a:off x="8460432" y="5928517"/>
            <a:ext cx="397818" cy="334964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539552" y="1484784"/>
            <a:ext cx="7056784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Data Validation</a:t>
            </a:r>
          </a:p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Data Loading Using SQL Developer</a:t>
            </a:r>
          </a:p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Author Form Creation</a:t>
            </a:r>
          </a:p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Book Master Form Creation</a:t>
            </a:r>
          </a:p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/>
              <a:t>Report Generation</a:t>
            </a:r>
          </a:p>
          <a:p>
            <a:pPr marL="457200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309238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able Creation</a:t>
            </a:r>
            <a:endParaRPr lang="en-US" b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Right Arrow 5">
            <a:hlinkClick r:id="rId2" action="ppaction://hlinksldjump"/>
          </p:cNvPr>
          <p:cNvSpPr/>
          <p:nvPr/>
        </p:nvSpPr>
        <p:spPr>
          <a:xfrm>
            <a:off x="8534400" y="5928517"/>
            <a:ext cx="323850" cy="334964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ounded Rectangle 1"/>
          <p:cNvSpPr/>
          <p:nvPr/>
        </p:nvSpPr>
        <p:spPr>
          <a:xfrm>
            <a:off x="611560" y="4581128"/>
            <a:ext cx="1512168" cy="864096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SE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611560" y="1844824"/>
            <a:ext cx="1512168" cy="947382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TAGING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Flowchart: Magnetic Disk 3">
            <a:hlinkClick r:id="rId3" action="ppaction://hlinkfile"/>
          </p:cNvPr>
          <p:cNvSpPr/>
          <p:nvPr/>
        </p:nvSpPr>
        <p:spPr>
          <a:xfrm>
            <a:off x="6732240" y="2740732"/>
            <a:ext cx="1152128" cy="1840396"/>
          </a:xfrm>
          <a:prstGeom prst="flowChartMagneticDisk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ERROR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7" name="Rounded Rectangle 36">
            <a:hlinkClick r:id="rId4" action="ppaction://hlinkfile"/>
          </p:cNvPr>
          <p:cNvSpPr/>
          <p:nvPr/>
        </p:nvSpPr>
        <p:spPr>
          <a:xfrm>
            <a:off x="3131840" y="2492896"/>
            <a:ext cx="1512168" cy="639688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OOK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8" name="Rounded Rectangle 37">
            <a:hlinkClick r:id="rId5" action="ppaction://hlinkfile"/>
          </p:cNvPr>
          <p:cNvSpPr/>
          <p:nvPr/>
        </p:nvSpPr>
        <p:spPr>
          <a:xfrm>
            <a:off x="3131840" y="1412776"/>
            <a:ext cx="1512168" cy="696459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UTHOR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2" name="Rounded Rectangle 41">
            <a:hlinkClick r:id="rId6" action="ppaction://hlinkfile"/>
          </p:cNvPr>
          <p:cNvSpPr/>
          <p:nvPr/>
        </p:nvSpPr>
        <p:spPr>
          <a:xfrm>
            <a:off x="3203848" y="4005064"/>
            <a:ext cx="1512168" cy="639688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UTHOR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3" name="Rounded Rectangle 42">
            <a:hlinkClick r:id="rId7" action="ppaction://hlinkfile"/>
          </p:cNvPr>
          <p:cNvSpPr/>
          <p:nvPr/>
        </p:nvSpPr>
        <p:spPr>
          <a:xfrm>
            <a:off x="3203848" y="5229200"/>
            <a:ext cx="1512168" cy="639688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OOK TAB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Curved Down Arrow 13"/>
          <p:cNvSpPr/>
          <p:nvPr/>
        </p:nvSpPr>
        <p:spPr>
          <a:xfrm>
            <a:off x="4860032" y="1628800"/>
            <a:ext cx="2448272" cy="648072"/>
          </a:xfrm>
          <a:prstGeom prst="curvedDownArrow">
            <a:avLst/>
          </a:prstGeom>
          <a:solidFill>
            <a:schemeClr val="tx2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Curved Left Arrow 15"/>
          <p:cNvSpPr/>
          <p:nvPr/>
        </p:nvSpPr>
        <p:spPr>
          <a:xfrm>
            <a:off x="5004048" y="2740732"/>
            <a:ext cx="648072" cy="2704492"/>
          </a:xfrm>
          <a:prstGeom prst="curvedLeftArrow">
            <a:avLst/>
          </a:prstGeom>
          <a:solidFill>
            <a:schemeClr val="tx2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Bent Arrow 16"/>
          <p:cNvSpPr/>
          <p:nvPr/>
        </p:nvSpPr>
        <p:spPr>
          <a:xfrm>
            <a:off x="1259632" y="1480200"/>
            <a:ext cx="1764196" cy="364624"/>
          </a:xfrm>
          <a:prstGeom prst="bentArrow">
            <a:avLst>
              <a:gd name="adj1" fmla="val 25000"/>
              <a:gd name="adj2" fmla="val 23129"/>
              <a:gd name="adj3" fmla="val 25000"/>
              <a:gd name="adj4" fmla="val 43750"/>
            </a:avLst>
          </a:prstGeom>
          <a:solidFill>
            <a:schemeClr val="tx2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8" name="Bent Arrow 47"/>
          <p:cNvSpPr/>
          <p:nvPr/>
        </p:nvSpPr>
        <p:spPr>
          <a:xfrm>
            <a:off x="1331640" y="4216504"/>
            <a:ext cx="1728192" cy="364624"/>
          </a:xfrm>
          <a:prstGeom prst="bentArrow">
            <a:avLst>
              <a:gd name="adj1" fmla="val 25000"/>
              <a:gd name="adj2" fmla="val 23129"/>
              <a:gd name="adj3" fmla="val 25000"/>
              <a:gd name="adj4" fmla="val 43750"/>
            </a:avLst>
          </a:prstGeom>
          <a:solidFill>
            <a:schemeClr val="tx2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9" name="Bent Arrow 48"/>
          <p:cNvSpPr/>
          <p:nvPr/>
        </p:nvSpPr>
        <p:spPr>
          <a:xfrm rot="10800000" flipH="1">
            <a:off x="1367644" y="2765023"/>
            <a:ext cx="1692188" cy="375943"/>
          </a:xfrm>
          <a:prstGeom prst="bentArrow">
            <a:avLst>
              <a:gd name="adj1" fmla="val 25000"/>
              <a:gd name="adj2" fmla="val 23129"/>
              <a:gd name="adj3" fmla="val 25000"/>
              <a:gd name="adj4" fmla="val 43750"/>
            </a:avLst>
          </a:prstGeom>
          <a:solidFill>
            <a:schemeClr val="tx2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0" name="Bent Arrow 49"/>
          <p:cNvSpPr/>
          <p:nvPr/>
        </p:nvSpPr>
        <p:spPr>
          <a:xfrm rot="10800000" flipH="1">
            <a:off x="1331639" y="5501326"/>
            <a:ext cx="1800201" cy="375943"/>
          </a:xfrm>
          <a:prstGeom prst="bentArrow">
            <a:avLst>
              <a:gd name="adj1" fmla="val 25000"/>
              <a:gd name="adj2" fmla="val 23129"/>
              <a:gd name="adj3" fmla="val 25000"/>
              <a:gd name="adj4" fmla="val 43750"/>
            </a:avLst>
          </a:prstGeom>
          <a:solidFill>
            <a:schemeClr val="tx2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3717032"/>
            <a:ext cx="488733" cy="55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6332" y="1772816"/>
            <a:ext cx="545699" cy="545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Straight Connector 22"/>
          <p:cNvCxnSpPr/>
          <p:nvPr/>
        </p:nvCxnSpPr>
        <p:spPr>
          <a:xfrm>
            <a:off x="3059832" y="1196752"/>
            <a:ext cx="0" cy="2160240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3131840" y="3861048"/>
            <a:ext cx="0" cy="2234951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4860032" y="3861048"/>
            <a:ext cx="0" cy="2232248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4716016" y="1196752"/>
            <a:ext cx="0" cy="2160240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62" name="Straight Connector 61"/>
          <p:cNvCxnSpPr/>
          <p:nvPr/>
        </p:nvCxnSpPr>
        <p:spPr>
          <a:xfrm flipV="1">
            <a:off x="3131840" y="6093296"/>
            <a:ext cx="1728192" cy="2703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65" name="Straight Connector 64"/>
          <p:cNvCxnSpPr/>
          <p:nvPr/>
        </p:nvCxnSpPr>
        <p:spPr>
          <a:xfrm flipV="1">
            <a:off x="3131840" y="3858345"/>
            <a:ext cx="1728192" cy="2703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66" name="Straight Connector 65"/>
          <p:cNvCxnSpPr/>
          <p:nvPr/>
        </p:nvCxnSpPr>
        <p:spPr>
          <a:xfrm>
            <a:off x="3059832" y="3356992"/>
            <a:ext cx="1656184" cy="1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  <p:cxnSp>
        <p:nvCxnSpPr>
          <p:cNvPr id="67" name="Straight Connector 66"/>
          <p:cNvCxnSpPr/>
          <p:nvPr/>
        </p:nvCxnSpPr>
        <p:spPr>
          <a:xfrm flipV="1">
            <a:off x="3023828" y="1194050"/>
            <a:ext cx="1692188" cy="2702"/>
          </a:xfrm>
          <a:prstGeom prst="lin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</p:cxnSp>
    </p:spTree>
    <p:extLst>
      <p:ext uri="{BB962C8B-B14F-4D97-AF65-F5344CB8AC3E}">
        <p14:creationId xmlns:p14="http://schemas.microsoft.com/office/powerpoint/2010/main" val="409733357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u="sng" dirty="0" smtClean="0"/>
              <a:t>SQL Loader</a:t>
            </a:r>
            <a:endParaRPr lang="en-US" b="1" u="sng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67333"/>
            <a:ext cx="8229600" cy="4525963"/>
          </a:xfrm>
        </p:spPr>
        <p:txBody>
          <a:bodyPr/>
          <a:lstStyle/>
          <a:p>
            <a:r>
              <a:rPr lang="en-US" dirty="0" smtClean="0"/>
              <a:t>Authors Stage	</a:t>
            </a:r>
          </a:p>
          <a:p>
            <a:pPr lvl="1"/>
            <a:r>
              <a:rPr lang="en-US" dirty="0" smtClean="0">
                <a:hlinkClick r:id="rId2" action="ppaction://hlinkfile"/>
              </a:rPr>
              <a:t>Control </a:t>
            </a:r>
            <a:r>
              <a:rPr lang="en-US" dirty="0">
                <a:hlinkClick r:id="rId2" action="ppaction://hlinkfile"/>
              </a:rPr>
              <a:t>File</a:t>
            </a:r>
            <a:endParaRPr lang="en-US" dirty="0"/>
          </a:p>
          <a:p>
            <a:pPr lvl="1"/>
            <a:r>
              <a:rPr lang="en-US" dirty="0">
                <a:hlinkClick r:id="rId3" action="ppaction://hlinkfile"/>
              </a:rPr>
              <a:t>Data File</a:t>
            </a:r>
            <a:r>
              <a:rPr lang="en-US" dirty="0"/>
              <a:t>	(‘|’ terminated </a:t>
            </a:r>
            <a:r>
              <a:rPr lang="en-US" dirty="0" smtClean="0"/>
              <a:t>)</a:t>
            </a:r>
          </a:p>
          <a:p>
            <a:r>
              <a:rPr lang="en-US" dirty="0" smtClean="0"/>
              <a:t>Books Stage</a:t>
            </a:r>
          </a:p>
          <a:p>
            <a:pPr lvl="1"/>
            <a:r>
              <a:rPr lang="en-US" dirty="0">
                <a:hlinkClick r:id="rId4" action="ppaction://hlinkfile"/>
              </a:rPr>
              <a:t>Control File</a:t>
            </a:r>
            <a:endParaRPr lang="en-US" dirty="0"/>
          </a:p>
          <a:p>
            <a:pPr lvl="1"/>
            <a:r>
              <a:rPr lang="en-US" dirty="0">
                <a:hlinkClick r:id="rId5" action="ppaction://hlinkfile"/>
              </a:rPr>
              <a:t>Data File</a:t>
            </a:r>
            <a:r>
              <a:rPr lang="en-US" dirty="0"/>
              <a:t>	</a:t>
            </a:r>
            <a:r>
              <a:rPr lang="en-US" dirty="0" smtClean="0"/>
              <a:t>(Position Separated )</a:t>
            </a:r>
            <a:endParaRPr lang="en-US" dirty="0"/>
          </a:p>
          <a:p>
            <a:pPr marL="457200" lvl="1" indent="0">
              <a:buNone/>
            </a:pPr>
            <a:endParaRPr 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762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Validation</a:t>
            </a:r>
            <a:endParaRPr lang="en-US" b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Right Arrow 5">
            <a:hlinkClick r:id="rId2" action="ppaction://hlinksldjump"/>
          </p:cNvPr>
          <p:cNvSpPr/>
          <p:nvPr/>
        </p:nvSpPr>
        <p:spPr>
          <a:xfrm>
            <a:off x="8534400" y="5928517"/>
            <a:ext cx="323850" cy="334964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6" name="Diagram 25"/>
          <p:cNvGraphicFramePr/>
          <p:nvPr>
            <p:extLst>
              <p:ext uri="{D42A27DB-BD31-4B8C-83A1-F6EECF244321}">
                <p14:modId xmlns:p14="http://schemas.microsoft.com/office/powerpoint/2010/main" val="3708978262"/>
              </p:ext>
            </p:extLst>
          </p:nvPr>
        </p:nvGraphicFramePr>
        <p:xfrm>
          <a:off x="1524000" y="1052736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4801082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Couture">
      <a:dk1>
        <a:sysClr val="windowText" lastClr="000000"/>
      </a:dk1>
      <a:lt1>
        <a:sysClr val="window" lastClr="FFFFFF"/>
      </a:lt1>
      <a:dk2>
        <a:srgbClr val="37302A"/>
      </a:dk2>
      <a:lt2>
        <a:srgbClr val="D0CCB9"/>
      </a:lt2>
      <a:accent1>
        <a:srgbClr val="9E8E5C"/>
      </a:accent1>
      <a:accent2>
        <a:srgbClr val="A09781"/>
      </a:accent2>
      <a:accent3>
        <a:srgbClr val="85776D"/>
      </a:accent3>
      <a:accent4>
        <a:srgbClr val="AEAFA9"/>
      </a:accent4>
      <a:accent5>
        <a:srgbClr val="8D878B"/>
      </a:accent5>
      <a:accent6>
        <a:srgbClr val="6B6149"/>
      </a:accent6>
      <a:hlink>
        <a:srgbClr val="B6A272"/>
      </a:hlink>
      <a:folHlink>
        <a:srgbClr val="8A784F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57</TotalTime>
  <Words>291</Words>
  <Application>Microsoft Office PowerPoint</Application>
  <PresentationFormat>On-screen Show (4:3)</PresentationFormat>
  <Paragraphs>120</Paragraphs>
  <Slides>15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17" baseType="lpstr">
      <vt:lpstr>Executive</vt:lpstr>
      <vt:lpstr>Office Theme</vt:lpstr>
      <vt:lpstr>PowerPoint Presentation</vt:lpstr>
      <vt:lpstr>PowerPoint Presentation</vt:lpstr>
      <vt:lpstr>CONTENTS</vt:lpstr>
      <vt:lpstr>Introduction</vt:lpstr>
      <vt:lpstr>WORK FLOW OF THE PROJECT</vt:lpstr>
      <vt:lpstr>Requirement Analysis </vt:lpstr>
      <vt:lpstr>Table Creation</vt:lpstr>
      <vt:lpstr>SQL Loader</vt:lpstr>
      <vt:lpstr>Validation</vt:lpstr>
      <vt:lpstr>Forms</vt:lpstr>
      <vt:lpstr>Reports</vt:lpstr>
      <vt:lpstr>Oracle Application</vt:lpstr>
      <vt:lpstr>Conclusion  </vt:lpstr>
      <vt:lpstr>Future Scop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PAGIDI SATHISH KUMAR REDDY</cp:lastModifiedBy>
  <cp:revision>290</cp:revision>
  <dcterms:created xsi:type="dcterms:W3CDTF">2015-08-27T08:52:20Z</dcterms:created>
  <dcterms:modified xsi:type="dcterms:W3CDTF">2017-03-16T06:53:22Z</dcterms:modified>
</cp:coreProperties>
</file>